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1" r:id="rId1"/>
  </p:sldMasterIdLst>
  <p:notesMasterIdLst>
    <p:notesMasterId r:id="rId5"/>
  </p:notesMasterIdLst>
  <p:sldIdLst>
    <p:sldId id="256" r:id="rId2"/>
    <p:sldId id="263" r:id="rId3"/>
    <p:sldId id="267" r:id="rId4"/>
  </p:sldIdLst>
  <p:sldSz cx="12192000" cy="6858000"/>
  <p:notesSz cx="6858000" cy="9144000"/>
  <p:custDataLst>
    <p:tags r:id="rId6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1"/>
    <p:restoredTop sz="94682"/>
  </p:normalViewPr>
  <p:slideViewPr>
    <p:cSldViewPr snapToGrid="0">
      <p:cViewPr varScale="1">
        <p:scale>
          <a:sx n="135" d="100"/>
          <a:sy n="135" d="100"/>
        </p:scale>
        <p:origin x="200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craigrowland/Downloads/RBC%20Monthly%20Report%202023-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Rolling 12 month averag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8.3891418333813653E-2"/>
          <c:y val="8.2406073587060216E-2"/>
          <c:w val="0.90187537249020544"/>
          <c:h val="0.75452655333302243"/>
        </c:manualLayout>
      </c:layout>
      <c:lineChart>
        <c:grouping val="standard"/>
        <c:varyColors val="0"/>
        <c:ser>
          <c:idx val="0"/>
          <c:order val="0"/>
          <c:marker>
            <c:symbol val="none"/>
          </c:marker>
          <c:cat>
            <c:numRef>
              <c:f>Graphs!$A$50:$A$135</c:f>
              <c:numCache>
                <c:formatCode>mmm\-yy</c:formatCode>
                <c:ptCount val="86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  <c:pt idx="48">
                  <c:v>43831</c:v>
                </c:pt>
                <c:pt idx="49">
                  <c:v>43862</c:v>
                </c:pt>
                <c:pt idx="50">
                  <c:v>43891</c:v>
                </c:pt>
                <c:pt idx="51">
                  <c:v>43922</c:v>
                </c:pt>
                <c:pt idx="52">
                  <c:v>43952</c:v>
                </c:pt>
                <c:pt idx="53">
                  <c:v>43983</c:v>
                </c:pt>
                <c:pt idx="54">
                  <c:v>44013</c:v>
                </c:pt>
                <c:pt idx="55">
                  <c:v>44044</c:v>
                </c:pt>
                <c:pt idx="56">
                  <c:v>44075</c:v>
                </c:pt>
                <c:pt idx="57">
                  <c:v>44105</c:v>
                </c:pt>
                <c:pt idx="58">
                  <c:v>44136</c:v>
                </c:pt>
                <c:pt idx="59">
                  <c:v>44166</c:v>
                </c:pt>
                <c:pt idx="60">
                  <c:v>44197</c:v>
                </c:pt>
                <c:pt idx="61">
                  <c:v>44228</c:v>
                </c:pt>
                <c:pt idx="62">
                  <c:v>44256</c:v>
                </c:pt>
                <c:pt idx="63">
                  <c:v>44287</c:v>
                </c:pt>
                <c:pt idx="64">
                  <c:v>44317</c:v>
                </c:pt>
                <c:pt idx="65">
                  <c:v>44348</c:v>
                </c:pt>
                <c:pt idx="66">
                  <c:v>44378</c:v>
                </c:pt>
                <c:pt idx="67">
                  <c:v>44409</c:v>
                </c:pt>
                <c:pt idx="68">
                  <c:v>44440</c:v>
                </c:pt>
                <c:pt idx="69">
                  <c:v>44470</c:v>
                </c:pt>
                <c:pt idx="70">
                  <c:v>44501</c:v>
                </c:pt>
                <c:pt idx="71">
                  <c:v>44531</c:v>
                </c:pt>
                <c:pt idx="72">
                  <c:v>44562</c:v>
                </c:pt>
                <c:pt idx="73">
                  <c:v>44593</c:v>
                </c:pt>
                <c:pt idx="74">
                  <c:v>44621</c:v>
                </c:pt>
                <c:pt idx="75">
                  <c:v>44652</c:v>
                </c:pt>
                <c:pt idx="76">
                  <c:v>44682</c:v>
                </c:pt>
                <c:pt idx="77">
                  <c:v>44713</c:v>
                </c:pt>
                <c:pt idx="78">
                  <c:v>44743</c:v>
                </c:pt>
                <c:pt idx="79">
                  <c:v>44774</c:v>
                </c:pt>
                <c:pt idx="80">
                  <c:v>44805</c:v>
                </c:pt>
                <c:pt idx="81">
                  <c:v>44835</c:v>
                </c:pt>
                <c:pt idx="82">
                  <c:v>44866</c:v>
                </c:pt>
                <c:pt idx="83">
                  <c:v>44896</c:v>
                </c:pt>
                <c:pt idx="84">
                  <c:v>44927</c:v>
                </c:pt>
                <c:pt idx="85">
                  <c:v>44958</c:v>
                </c:pt>
              </c:numCache>
            </c:numRef>
          </c:cat>
          <c:val>
            <c:numRef>
              <c:f>Graphs!$I$50:$I$135</c:f>
              <c:numCache>
                <c:formatCode>_-* #,##0_-;\-* #,##0_-;_-* "-"??_-;_-@_-</c:formatCode>
                <c:ptCount val="86"/>
                <c:pt idx="0">
                  <c:v>25456</c:v>
                </c:pt>
                <c:pt idx="1">
                  <c:v>25485</c:v>
                </c:pt>
                <c:pt idx="2">
                  <c:v>26053.333333333332</c:v>
                </c:pt>
                <c:pt idx="3">
                  <c:v>25661.5</c:v>
                </c:pt>
                <c:pt idx="4">
                  <c:v>25782</c:v>
                </c:pt>
                <c:pt idx="5">
                  <c:v>25695.083333333332</c:v>
                </c:pt>
                <c:pt idx="6">
                  <c:v>25842.333333333332</c:v>
                </c:pt>
                <c:pt idx="7">
                  <c:v>25999.583333333332</c:v>
                </c:pt>
                <c:pt idx="8">
                  <c:v>25889.833333333332</c:v>
                </c:pt>
                <c:pt idx="9">
                  <c:v>26135.416666666668</c:v>
                </c:pt>
                <c:pt idx="10">
                  <c:v>25940.25</c:v>
                </c:pt>
                <c:pt idx="11">
                  <c:v>25725.916666666668</c:v>
                </c:pt>
                <c:pt idx="12">
                  <c:v>25920.833333333332</c:v>
                </c:pt>
                <c:pt idx="13">
                  <c:v>26024.333333333332</c:v>
                </c:pt>
                <c:pt idx="14">
                  <c:v>25616</c:v>
                </c:pt>
                <c:pt idx="15">
                  <c:v>25399</c:v>
                </c:pt>
                <c:pt idx="16">
                  <c:v>25210</c:v>
                </c:pt>
                <c:pt idx="17">
                  <c:v>25274.5</c:v>
                </c:pt>
                <c:pt idx="18">
                  <c:v>25300.666666666668</c:v>
                </c:pt>
                <c:pt idx="19">
                  <c:v>25340.916666666668</c:v>
                </c:pt>
                <c:pt idx="20">
                  <c:v>25226.666666666668</c:v>
                </c:pt>
                <c:pt idx="21">
                  <c:v>25293.916666666668</c:v>
                </c:pt>
                <c:pt idx="22">
                  <c:v>25336.583333333332</c:v>
                </c:pt>
                <c:pt idx="23">
                  <c:v>25813.666666666668</c:v>
                </c:pt>
                <c:pt idx="24">
                  <c:v>25674.833333333332</c:v>
                </c:pt>
                <c:pt idx="25">
                  <c:v>25606.5</c:v>
                </c:pt>
                <c:pt idx="26">
                  <c:v>25370.333333333332</c:v>
                </c:pt>
                <c:pt idx="27">
                  <c:v>26210.166666666668</c:v>
                </c:pt>
                <c:pt idx="28">
                  <c:v>26185.166666666668</c:v>
                </c:pt>
                <c:pt idx="29">
                  <c:v>26265.833333333332</c:v>
                </c:pt>
                <c:pt idx="30">
                  <c:v>26377.083333333332</c:v>
                </c:pt>
                <c:pt idx="31">
                  <c:v>26260.75</c:v>
                </c:pt>
                <c:pt idx="32">
                  <c:v>26267.083333333332</c:v>
                </c:pt>
                <c:pt idx="33">
                  <c:v>26247.833333333332</c:v>
                </c:pt>
                <c:pt idx="34">
                  <c:v>26747.25</c:v>
                </c:pt>
                <c:pt idx="35">
                  <c:v>26175.333333333332</c:v>
                </c:pt>
                <c:pt idx="36">
                  <c:v>26204.5</c:v>
                </c:pt>
                <c:pt idx="37">
                  <c:v>26363.75</c:v>
                </c:pt>
                <c:pt idx="38">
                  <c:v>27266.75</c:v>
                </c:pt>
                <c:pt idx="39">
                  <c:v>27552.25</c:v>
                </c:pt>
                <c:pt idx="40">
                  <c:v>27509.75</c:v>
                </c:pt>
                <c:pt idx="41">
                  <c:v>27823.833333333332</c:v>
                </c:pt>
                <c:pt idx="42">
                  <c:v>28292.833333333332</c:v>
                </c:pt>
                <c:pt idx="43">
                  <c:v>28393.166666666668</c:v>
                </c:pt>
                <c:pt idx="44">
                  <c:v>28821.666666666668</c:v>
                </c:pt>
                <c:pt idx="45">
                  <c:v>28879.416666666668</c:v>
                </c:pt>
                <c:pt idx="46">
                  <c:v>28456.666666666668</c:v>
                </c:pt>
                <c:pt idx="47">
                  <c:v>29213.916666666668</c:v>
                </c:pt>
                <c:pt idx="48">
                  <c:v>29317.75</c:v>
                </c:pt>
                <c:pt idx="49">
                  <c:v>29259.916666666668</c:v>
                </c:pt>
                <c:pt idx="50">
                  <c:v>28536.583333333332</c:v>
                </c:pt>
                <c:pt idx="51">
                  <c:v>28099.916666666668</c:v>
                </c:pt>
                <c:pt idx="52">
                  <c:v>28407</c:v>
                </c:pt>
                <c:pt idx="53">
                  <c:v>27981.416666666668</c:v>
                </c:pt>
                <c:pt idx="54">
                  <c:v>27394.5</c:v>
                </c:pt>
                <c:pt idx="55">
                  <c:v>27292.583333333332</c:v>
                </c:pt>
                <c:pt idx="56">
                  <c:v>27167.25</c:v>
                </c:pt>
                <c:pt idx="57">
                  <c:v>26962</c:v>
                </c:pt>
                <c:pt idx="58">
                  <c:v>26860</c:v>
                </c:pt>
                <c:pt idx="59">
                  <c:v>26520.833333333332</c:v>
                </c:pt>
                <c:pt idx="60">
                  <c:v>25841.416666666668</c:v>
                </c:pt>
                <c:pt idx="61">
                  <c:v>25913.416666666668</c:v>
                </c:pt>
                <c:pt idx="62">
                  <c:v>25332.833333333332</c:v>
                </c:pt>
                <c:pt idx="63">
                  <c:v>25224.333333333332</c:v>
                </c:pt>
                <c:pt idx="64">
                  <c:v>24591.504166666666</c:v>
                </c:pt>
                <c:pt idx="65">
                  <c:v>24825.25</c:v>
                </c:pt>
                <c:pt idx="66">
                  <c:v>24663.75</c:v>
                </c:pt>
                <c:pt idx="67">
                  <c:v>24639.583333333332</c:v>
                </c:pt>
                <c:pt idx="68">
                  <c:v>24509.916666666668</c:v>
                </c:pt>
                <c:pt idx="69">
                  <c:v>24258.75</c:v>
                </c:pt>
                <c:pt idx="70">
                  <c:v>24715.75</c:v>
                </c:pt>
                <c:pt idx="71">
                  <c:v>24183</c:v>
                </c:pt>
                <c:pt idx="72">
                  <c:v>24475.916666666668</c:v>
                </c:pt>
                <c:pt idx="73">
                  <c:v>24396.333333333332</c:v>
                </c:pt>
                <c:pt idx="74">
                  <c:v>24568.5</c:v>
                </c:pt>
                <c:pt idx="75">
                  <c:v>24512.333333333332</c:v>
                </c:pt>
                <c:pt idx="76">
                  <c:v>25013.245833333334</c:v>
                </c:pt>
                <c:pt idx="77">
                  <c:v>25230.416666666668</c:v>
                </c:pt>
                <c:pt idx="78">
                  <c:v>25216.583333333332</c:v>
                </c:pt>
                <c:pt idx="79">
                  <c:v>25302.666666666668</c:v>
                </c:pt>
                <c:pt idx="80">
                  <c:v>25153.5</c:v>
                </c:pt>
                <c:pt idx="81">
                  <c:v>25409.166666666668</c:v>
                </c:pt>
                <c:pt idx="82">
                  <c:v>25791.25</c:v>
                </c:pt>
                <c:pt idx="83">
                  <c:v>26134.416666666668</c:v>
                </c:pt>
                <c:pt idx="84">
                  <c:v>26227.416666666668</c:v>
                </c:pt>
                <c:pt idx="85">
                  <c:v>26397.666666666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57-6A4F-9581-53289D1E9AED}"/>
            </c:ext>
          </c:extLst>
        </c:ser>
        <c:ser>
          <c:idx val="2"/>
          <c:order val="1"/>
          <c:spPr>
            <a:ln>
              <a:prstDash val="sysDash"/>
            </a:ln>
          </c:spPr>
          <c:marker>
            <c:symbol val="none"/>
          </c:marker>
          <c:cat>
            <c:numRef>
              <c:f>Graphs!$A$50:$A$135</c:f>
              <c:numCache>
                <c:formatCode>mmm\-yy</c:formatCode>
                <c:ptCount val="86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  <c:pt idx="48">
                  <c:v>43831</c:v>
                </c:pt>
                <c:pt idx="49">
                  <c:v>43862</c:v>
                </c:pt>
                <c:pt idx="50">
                  <c:v>43891</c:v>
                </c:pt>
                <c:pt idx="51">
                  <c:v>43922</c:v>
                </c:pt>
                <c:pt idx="52">
                  <c:v>43952</c:v>
                </c:pt>
                <c:pt idx="53">
                  <c:v>43983</c:v>
                </c:pt>
                <c:pt idx="54">
                  <c:v>44013</c:v>
                </c:pt>
                <c:pt idx="55">
                  <c:v>44044</c:v>
                </c:pt>
                <c:pt idx="56">
                  <c:v>44075</c:v>
                </c:pt>
                <c:pt idx="57">
                  <c:v>44105</c:v>
                </c:pt>
                <c:pt idx="58">
                  <c:v>44136</c:v>
                </c:pt>
                <c:pt idx="59">
                  <c:v>44166</c:v>
                </c:pt>
                <c:pt idx="60">
                  <c:v>44197</c:v>
                </c:pt>
                <c:pt idx="61">
                  <c:v>44228</c:v>
                </c:pt>
                <c:pt idx="62">
                  <c:v>44256</c:v>
                </c:pt>
                <c:pt idx="63">
                  <c:v>44287</c:v>
                </c:pt>
                <c:pt idx="64">
                  <c:v>44317</c:v>
                </c:pt>
                <c:pt idx="65">
                  <c:v>44348</c:v>
                </c:pt>
                <c:pt idx="66">
                  <c:v>44378</c:v>
                </c:pt>
                <c:pt idx="67">
                  <c:v>44409</c:v>
                </c:pt>
                <c:pt idx="68">
                  <c:v>44440</c:v>
                </c:pt>
                <c:pt idx="69">
                  <c:v>44470</c:v>
                </c:pt>
                <c:pt idx="70">
                  <c:v>44501</c:v>
                </c:pt>
                <c:pt idx="71">
                  <c:v>44531</c:v>
                </c:pt>
                <c:pt idx="72">
                  <c:v>44562</c:v>
                </c:pt>
                <c:pt idx="73">
                  <c:v>44593</c:v>
                </c:pt>
                <c:pt idx="74">
                  <c:v>44621</c:v>
                </c:pt>
                <c:pt idx="75">
                  <c:v>44652</c:v>
                </c:pt>
                <c:pt idx="76">
                  <c:v>44682</c:v>
                </c:pt>
                <c:pt idx="77">
                  <c:v>44713</c:v>
                </c:pt>
                <c:pt idx="78">
                  <c:v>44743</c:v>
                </c:pt>
                <c:pt idx="79">
                  <c:v>44774</c:v>
                </c:pt>
                <c:pt idx="80">
                  <c:v>44805</c:v>
                </c:pt>
                <c:pt idx="81">
                  <c:v>44835</c:v>
                </c:pt>
                <c:pt idx="82">
                  <c:v>44866</c:v>
                </c:pt>
                <c:pt idx="83">
                  <c:v>44896</c:v>
                </c:pt>
                <c:pt idx="84">
                  <c:v>44927</c:v>
                </c:pt>
                <c:pt idx="85">
                  <c:v>44958</c:v>
                </c:pt>
              </c:numCache>
            </c:numRef>
          </c:cat>
          <c:val>
            <c:numRef>
              <c:f>Graphs!$K$50:$K$135</c:f>
              <c:numCache>
                <c:formatCode>_-* #,##0_-;\-* #,##0_-;_-* "-"??_-;_-@_-</c:formatCode>
                <c:ptCount val="86"/>
                <c:pt idx="0">
                  <c:v>27900</c:v>
                </c:pt>
                <c:pt idx="1">
                  <c:v>27900</c:v>
                </c:pt>
                <c:pt idx="2">
                  <c:v>27900</c:v>
                </c:pt>
                <c:pt idx="3">
                  <c:v>27900</c:v>
                </c:pt>
                <c:pt idx="4">
                  <c:v>27900</c:v>
                </c:pt>
                <c:pt idx="5">
                  <c:v>27900</c:v>
                </c:pt>
                <c:pt idx="6">
                  <c:v>27900</c:v>
                </c:pt>
                <c:pt idx="7">
                  <c:v>27900</c:v>
                </c:pt>
                <c:pt idx="8">
                  <c:v>27900</c:v>
                </c:pt>
                <c:pt idx="9">
                  <c:v>27900</c:v>
                </c:pt>
                <c:pt idx="10">
                  <c:v>27900</c:v>
                </c:pt>
                <c:pt idx="11">
                  <c:v>27900</c:v>
                </c:pt>
                <c:pt idx="12">
                  <c:v>27900</c:v>
                </c:pt>
                <c:pt idx="13">
                  <c:v>27900</c:v>
                </c:pt>
                <c:pt idx="14">
                  <c:v>27900</c:v>
                </c:pt>
                <c:pt idx="15">
                  <c:v>27900</c:v>
                </c:pt>
                <c:pt idx="16">
                  <c:v>27900</c:v>
                </c:pt>
                <c:pt idx="17">
                  <c:v>27900</c:v>
                </c:pt>
                <c:pt idx="18">
                  <c:v>27900</c:v>
                </c:pt>
                <c:pt idx="19">
                  <c:v>27900</c:v>
                </c:pt>
                <c:pt idx="20">
                  <c:v>27900</c:v>
                </c:pt>
                <c:pt idx="21">
                  <c:v>27900</c:v>
                </c:pt>
                <c:pt idx="22">
                  <c:v>27900</c:v>
                </c:pt>
                <c:pt idx="23">
                  <c:v>27900</c:v>
                </c:pt>
                <c:pt idx="24">
                  <c:v>27900</c:v>
                </c:pt>
                <c:pt idx="25">
                  <c:v>27900</c:v>
                </c:pt>
                <c:pt idx="26">
                  <c:v>27900</c:v>
                </c:pt>
                <c:pt idx="27">
                  <c:v>27900</c:v>
                </c:pt>
                <c:pt idx="28">
                  <c:v>27900</c:v>
                </c:pt>
                <c:pt idx="29">
                  <c:v>27900</c:v>
                </c:pt>
                <c:pt idx="30">
                  <c:v>27900</c:v>
                </c:pt>
                <c:pt idx="31">
                  <c:v>27900</c:v>
                </c:pt>
                <c:pt idx="32">
                  <c:v>27900</c:v>
                </c:pt>
                <c:pt idx="33">
                  <c:v>27900</c:v>
                </c:pt>
                <c:pt idx="34">
                  <c:v>27900</c:v>
                </c:pt>
                <c:pt idx="35">
                  <c:v>27900</c:v>
                </c:pt>
                <c:pt idx="36">
                  <c:v>27900</c:v>
                </c:pt>
                <c:pt idx="37">
                  <c:v>27900</c:v>
                </c:pt>
                <c:pt idx="38">
                  <c:v>27900</c:v>
                </c:pt>
                <c:pt idx="39">
                  <c:v>27900</c:v>
                </c:pt>
                <c:pt idx="40">
                  <c:v>27900</c:v>
                </c:pt>
                <c:pt idx="41">
                  <c:v>27900</c:v>
                </c:pt>
                <c:pt idx="42">
                  <c:v>27900</c:v>
                </c:pt>
                <c:pt idx="43">
                  <c:v>27900</c:v>
                </c:pt>
                <c:pt idx="44">
                  <c:v>27900</c:v>
                </c:pt>
                <c:pt idx="45">
                  <c:v>27900</c:v>
                </c:pt>
                <c:pt idx="46">
                  <c:v>27900</c:v>
                </c:pt>
                <c:pt idx="47">
                  <c:v>27900</c:v>
                </c:pt>
                <c:pt idx="48">
                  <c:v>27900</c:v>
                </c:pt>
                <c:pt idx="49">
                  <c:v>27900</c:v>
                </c:pt>
                <c:pt idx="50">
                  <c:v>27900</c:v>
                </c:pt>
                <c:pt idx="51">
                  <c:v>27900</c:v>
                </c:pt>
                <c:pt idx="52">
                  <c:v>27900</c:v>
                </c:pt>
                <c:pt idx="53">
                  <c:v>27900</c:v>
                </c:pt>
                <c:pt idx="54">
                  <c:v>27900</c:v>
                </c:pt>
                <c:pt idx="55">
                  <c:v>27900</c:v>
                </c:pt>
                <c:pt idx="56">
                  <c:v>27900</c:v>
                </c:pt>
                <c:pt idx="57">
                  <c:v>27900</c:v>
                </c:pt>
                <c:pt idx="58">
                  <c:v>27900</c:v>
                </c:pt>
                <c:pt idx="59">
                  <c:v>27900</c:v>
                </c:pt>
                <c:pt idx="60">
                  <c:v>27900</c:v>
                </c:pt>
                <c:pt idx="61">
                  <c:v>27900</c:v>
                </c:pt>
                <c:pt idx="62">
                  <c:v>27900</c:v>
                </c:pt>
                <c:pt idx="63">
                  <c:v>27900</c:v>
                </c:pt>
                <c:pt idx="64">
                  <c:v>27900</c:v>
                </c:pt>
                <c:pt idx="65">
                  <c:v>27900</c:v>
                </c:pt>
                <c:pt idx="66">
                  <c:v>27900</c:v>
                </c:pt>
                <c:pt idx="67">
                  <c:v>27900</c:v>
                </c:pt>
                <c:pt idx="68">
                  <c:v>27900</c:v>
                </c:pt>
                <c:pt idx="69">
                  <c:v>27900</c:v>
                </c:pt>
                <c:pt idx="70">
                  <c:v>27900</c:v>
                </c:pt>
                <c:pt idx="71">
                  <c:v>27900</c:v>
                </c:pt>
                <c:pt idx="72">
                  <c:v>27900</c:v>
                </c:pt>
                <c:pt idx="73">
                  <c:v>27900</c:v>
                </c:pt>
                <c:pt idx="74">
                  <c:v>27900</c:v>
                </c:pt>
                <c:pt idx="75">
                  <c:v>27900</c:v>
                </c:pt>
                <c:pt idx="76">
                  <c:v>27900</c:v>
                </c:pt>
                <c:pt idx="77">
                  <c:v>27900</c:v>
                </c:pt>
                <c:pt idx="78">
                  <c:v>27900</c:v>
                </c:pt>
                <c:pt idx="79">
                  <c:v>27900</c:v>
                </c:pt>
                <c:pt idx="80">
                  <c:v>27900</c:v>
                </c:pt>
                <c:pt idx="81">
                  <c:v>27900</c:v>
                </c:pt>
                <c:pt idx="82">
                  <c:v>27900</c:v>
                </c:pt>
                <c:pt idx="83">
                  <c:v>27900</c:v>
                </c:pt>
                <c:pt idx="84">
                  <c:v>27900</c:v>
                </c:pt>
                <c:pt idx="85">
                  <c:v>279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57-6A4F-9581-53289D1E9A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085696"/>
        <c:axId val="159087232"/>
      </c:lineChart>
      <c:dateAx>
        <c:axId val="15908569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59087232"/>
        <c:crosses val="autoZero"/>
        <c:auto val="1"/>
        <c:lblOffset val="100"/>
        <c:baseTimeUnit val="months"/>
      </c:dateAx>
      <c:valAx>
        <c:axId val="159087232"/>
        <c:scaling>
          <c:orientation val="minMax"/>
          <c:max val="29500"/>
          <c:min val="23500"/>
        </c:scaling>
        <c:delete val="0"/>
        <c:axPos val="l"/>
        <c:majorGridlines>
          <c:spPr>
            <a:ln>
              <a:solidFill>
                <a:schemeClr val="accent1"/>
              </a:solidFill>
            </a:ln>
          </c:spPr>
        </c:majorGridlines>
        <c:numFmt formatCode="_-* #,##0_-;\-* #,##0_-;_-* &quot;-&quot;??_-;_-@_-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590856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042CFD-484D-4845-9E0C-63ECCAD58628}" type="datetimeFigureOut">
              <a:rPr lang="en-US" smtClean="0"/>
              <a:t>3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0DE578-0BCF-A04A-AA53-C22B13B7B5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86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F605CD36-5D74-1341-A3C8-4C5536BD4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1506" name="Object 33">
                        <a:extLst>
                          <a:ext uri="{FF2B5EF4-FFF2-40B4-BE49-F238E27FC236}">
                            <a16:creationId xmlns:a16="http://schemas.microsoft.com/office/drawing/2014/main" id="{1B950381-8A30-7443-86F5-44D8DD6809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CE41561E-6F25-0941-9BA8-488C382151F0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D4E38F12-5344-6240-80F0-28B326719290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1A99CD3D-BC25-1941-A81D-B9D9BCC94AD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E986404E-7956-9D4D-8AEF-6732030E90A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547BC52A-B45A-2D4F-BD58-B3EBAF073685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291C8C4D-47DB-3B4B-92A5-E6292C9D0763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8CCC0C7E-AA3F-BB4E-8F10-F11317484CA9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626C771-8DD2-564B-A967-A64D964F088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F45DC0E0-AE72-8842-A1F8-2AC280EA7D9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004CB785-B86C-6F4F-808E-1605BE5BB754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F30784F3-0AFE-8247-891C-91B449FA7E2A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6E2DF62D-DAEF-2346-84CA-2A25AC47EB3C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FD74B72-0422-1649-8B10-356BB83F56F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5ED92E61-75F7-CE48-8EF2-473F6A4A201D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76A51EE9-2779-3C41-9E3F-885CA03F7EC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664F6862-09AC-5640-88B5-632F1CE5C05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4B11097B-A0C7-F44B-8DB9-C0FB35FA1A8A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4B58B94B-34A0-B54D-9E7C-903B2BDDCDEE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7BC98C8B-B642-8946-9948-2638F1202A0D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2622CFD0-A678-1441-BB9E-8A541CDF4F5F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1BD2FB0-2742-E54F-BC9A-F89E6CF1CB2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A02ABF0E-FC64-164B-B992-995EB4357883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7B8C38E0-8BAA-6442-BD75-52F8176022F8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DE2DF756-60D8-7D4E-81F3-D0571A37D937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D37F7EA1-D8C5-DB4D-BEDF-052055A267C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C544FB38-D4A7-344B-8A9F-06EDDC08E13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D150ABC3-A45B-614C-A157-B56F9A93C0B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36">
            <a:extLst>
              <a:ext uri="{FF2B5EF4-FFF2-40B4-BE49-F238E27FC236}">
                <a16:creationId xmlns:a16="http://schemas.microsoft.com/office/drawing/2014/main" id="{A9CEC531-B25C-8A4E-B18E-7D251E66378F}"/>
              </a:ext>
            </a:extLst>
          </p:cNvPr>
          <p:cNvSpPr>
            <a:spLocks/>
          </p:cNvSpPr>
          <p:nvPr/>
        </p:nvSpPr>
        <p:spPr bwMode="auto">
          <a:xfrm>
            <a:off x="0" y="4324350"/>
            <a:ext cx="1744663" cy="777875"/>
          </a:xfrm>
          <a:custGeom>
            <a:avLst/>
            <a:gdLst>
              <a:gd name="T0" fmla="*/ 0 w 372"/>
              <a:gd name="T1" fmla="*/ 0 h 166"/>
              <a:gd name="T2" fmla="*/ 372 w 372"/>
              <a:gd name="T3" fmla="*/ 166 h 166"/>
            </a:gdLst>
            <a:ahLst/>
            <a:cxnLst>
              <a:cxn ang="0">
                <a:pos x="287" y="166"/>
              </a:cxn>
              <a:cxn ang="0">
                <a:pos x="293" y="164"/>
              </a:cxn>
              <a:cxn ang="0">
                <a:pos x="294" y="163"/>
              </a:cxn>
              <a:cxn ang="0">
                <a:pos x="370" y="87"/>
              </a:cxn>
              <a:cxn ang="0">
                <a:pos x="370" y="78"/>
              </a:cxn>
              <a:cxn ang="0">
                <a:pos x="294" y="3"/>
              </a:cxn>
              <a:cxn ang="0">
                <a:pos x="293" y="2"/>
              </a:cxn>
              <a:cxn ang="0">
                <a:pos x="287" y="0"/>
              </a:cxn>
              <a:cxn ang="0">
                <a:pos x="0" y="0"/>
              </a:cxn>
              <a:cxn ang="0">
                <a:pos x="0" y="166"/>
              </a:cxn>
              <a:cxn ang="0">
                <a:pos x="287" y="166"/>
              </a:cxn>
            </a:cxnLst>
            <a:rect l="T0" t="T1" r="T2" b="T3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B83E6DAB-93CB-BE49-B585-501778863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AFF395-0E28-2945-925D-6F257369901D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079C91CB-B802-1045-86FF-7E5BA1119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9A595DE-D3BC-F84D-A915-91B244E4D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529138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7B81A3-28DB-EE48-AD57-50708955971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8783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EACC739D-66F2-9E48-AF5F-BCAA9C4930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0722" name="Object 33">
                        <a:extLst>
                          <a:ext uri="{FF2B5EF4-FFF2-40B4-BE49-F238E27FC236}">
                            <a16:creationId xmlns:a16="http://schemas.microsoft.com/office/drawing/2014/main" id="{D2CFF8B8-4177-9643-AAD3-0FA0DE4955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2F46F336-5CE1-2342-9E7E-0EF9F710D826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8C8E4E3-79E9-8241-913C-B5AE4FF36FDB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B44F3EC5-FD4F-7B4F-9911-FF75469FFAF9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BDF95E3C-CB44-2048-BC11-6AFA78A506EC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F4CAC6D7-3C30-2A46-8F43-69D000A3EB54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B6992421-8E1D-DA46-BC81-77939672C57F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A1415CF2-9C40-724C-BF8B-3FB5B3051FF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4CE34BC6-C1C2-0542-B85B-0BB93B5B9C73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BC170DC6-CE4A-504C-8569-00A87794626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94435EFA-CFD2-004A-AD14-B927F30D134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825549CF-8F1E-1B46-80F3-E96E0777AF98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E9AB1560-0853-C548-A2C3-27E0D20F0035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444A1111-990B-994D-8212-175DCA524A1A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181A04AC-70AE-E94E-A11E-3E891E2FC66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D435CED0-A68D-AA4E-B7FB-1CF489B5485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F5EBF4BA-7635-A44D-957D-0192FE582498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53F6CD5E-EFAB-3345-9C5E-AC1D7AA49D47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8AFB3D90-7530-3C40-84C0-038516C4CC33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5AB34E21-1505-634E-9AF4-A086561CA3B4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7D8AD821-D84D-E64B-9A43-B1972A5DD9D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B1E02A86-ACD0-7746-B167-870ED40685CB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CB24BF96-89D1-6248-9180-599930DB0641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8C274780-047D-1E46-9863-BB965D89A9F0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B0F424CD-0E9A-9944-8976-F405E6E847C5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464BF97D-D5E2-F84C-A01F-80833ABFD2C4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957974DA-6709-F140-8E6E-19ABB3861D6F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33E3B1E6-480F-B94A-A097-4125DB172F8C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939537E1-104B-DD48-B89A-67247FE32EFB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DBDEF47-00D9-1143-9649-B67B3DD69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D85199-2905-CA43-9E15-CFAFCE48D6A6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E7EBFC00-5C22-9645-85F7-D83DD9D8B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BBB05D52-75B4-C94D-9FA2-ED5C4AD74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2CE9A-747B-5049-A378-A335AF7309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909739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7FBCA070-8E34-C24D-A9CF-0197A25655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1746" name="Object 33">
                        <a:extLst>
                          <a:ext uri="{FF2B5EF4-FFF2-40B4-BE49-F238E27FC236}">
                            <a16:creationId xmlns:a16="http://schemas.microsoft.com/office/drawing/2014/main" id="{79E1D884-5AA2-E047-8D7D-7B07657A5A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4F64894E-537F-E44D-80DA-DAD9578C0BF4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AE7F9DF3-86E6-8641-B206-739043C62CCE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BB17609B-53B5-0E40-8E2D-328C3F48C05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6F3F3A74-DF78-234A-8B95-8CAFC2B88BC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8C373B89-5AAD-C444-94EC-E16314E136ED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99DCA139-0861-0747-BD1E-1538582904F6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498785CB-736D-B047-BE90-DF5C9FCB5E0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9ECD617B-CECB-BD48-AEFC-9E60906E7AB4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9A033CB1-E08E-3F44-94B8-9E4920411B41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B2B882B0-FC52-8448-8AEB-237AD46574CB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498A1624-2F23-9547-9B80-0069DAF53B82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2EE5DE79-8870-9343-819F-C69209D23AF5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83D0428B-7717-F147-9FE1-3E8C6D209801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05E0C5C4-B08E-A84B-8BC2-FF00D8FA16FD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63812AF1-6DBF-8049-8DE5-9FD9F7F948EC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7E601A92-DA6E-F541-BA11-667E24FF105B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698FEDC8-3E16-C441-850E-B2FC16A5F146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8DC7BCFF-ED5C-1645-B0C7-4AC651546FC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AB6CF4C3-5A80-A747-A5A4-061853C67288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206C03B8-3F35-794A-8451-986C8622379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89C0AE37-CA14-D74E-9D2F-47CF2E35750C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CEADBFDB-2641-6A4E-B4F7-7DDF9220BA2A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4B946599-920E-054D-8689-6C6927AF3125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C5D64C2A-9567-934F-9127-95456BC6F38E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E0044A63-10B8-B847-9A5F-780FC248EB35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38F0F119-B5F4-6243-84B0-04BD1DB79D39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19DD19D-00B2-CC4C-A5F2-82912BAFD13D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11">
            <a:extLst>
              <a:ext uri="{FF2B5EF4-FFF2-40B4-BE49-F238E27FC236}">
                <a16:creationId xmlns:a16="http://schemas.microsoft.com/office/drawing/2014/main" id="{2419F4E9-465D-2341-982B-17EDD05D7953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91239AF-ADD2-994A-B698-A1AC9C433C3A}"/>
              </a:ext>
            </a:extLst>
          </p:cNvPr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C5A9931-EEFF-5849-8B69-E6BD1E63C62F}"/>
              </a:ext>
            </a:extLst>
          </p:cNvPr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Date Placeholder 3">
            <a:extLst>
              <a:ext uri="{FF2B5EF4-FFF2-40B4-BE49-F238E27FC236}">
                <a16:creationId xmlns:a16="http://schemas.microsoft.com/office/drawing/2014/main" id="{370A2E24-EBCC-534A-B0BA-F477FDF106F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09CB3B-8725-2E4B-84FA-0E5CBB941728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id="{4083D533-0D99-7B4E-8989-B81FE2F6B1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CD4E4F47-6D4F-4443-8677-FEB21963B2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FE4C4-712A-D84B-B195-2AB470AD17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1215053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E0150650-081A-F44F-93B2-5DDAD33F24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2770" name="Object 33">
                        <a:extLst>
                          <a:ext uri="{FF2B5EF4-FFF2-40B4-BE49-F238E27FC236}">
                            <a16:creationId xmlns:a16="http://schemas.microsoft.com/office/drawing/2014/main" id="{6CD9DAF8-696F-1F40-87F7-EB173B427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C21B5F43-D1FB-1E4F-BCB7-193CA5602439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2C8947EC-7D5B-534A-9E67-405220BDF113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491E21B8-39F3-784F-B444-E0A29CAC32D1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4712A996-E2B9-734E-BBAA-FD0EA5639DA5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9DF80B11-62F2-074C-8DD0-29EA0608DD1E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89ACF8ED-6175-2249-9DF1-4252ED1ED05F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25A86F1A-6F99-4F4A-B7C6-624B7975923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8FCA914E-DD0B-D543-87DE-F306F32F0AB7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6207DF57-D744-2249-B15F-523CC02E0217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367DA571-C97D-0B44-99AA-1CE780258D2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306566B5-5DFD-204B-B156-46ABE8917861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75AC3383-8484-6E4F-92E9-2468A1D55CB3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3610ED91-19C0-8642-85BB-4FEAE7D7BED7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B5FA0C6A-2DF9-2744-AE07-8D2874D5A823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551DFA8B-AD1C-0243-8BA7-6AD28EA19C3E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DFEF2AD5-FC95-0346-85A3-9C53547FAE56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A2070348-DF01-0542-A14B-283E466CBC5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52EED129-3008-4C4F-ACD2-1A15239223BA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CAD6B228-7335-954E-930A-B63C7F2CAD8B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3EFDC9F7-2109-6B43-A3D0-50DCB0F3C9E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377DFEF0-D623-5E4A-8B68-D0CB79D7521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7E97AA26-AFB9-0444-AE15-2C1667B9E1FF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B6F575DC-C4DB-EB48-84D8-E9923A337FA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6F792520-41DF-584F-A896-9ADD649F9E9D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FBED944D-E578-DA40-98A3-873D8448B2D2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A1693FC8-2EBC-4345-8B6B-9FC184BFF229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82C57D3-E306-D140-8CC4-2FF2060EE18E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1678F357-444A-9844-A398-975534D292A5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8E950DCF-C92C-5646-ACE6-3C26CBA9C4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B577BE-BB9E-6B4B-9EE9-6A3567FD9F86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94383FFC-1D8F-9F42-B314-725CCAF76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8E3833DE-DFD4-9C40-816A-F33B6FB40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33E796-517E-944E-91E2-CE895054763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768365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F1F4BF67-9CB1-3C43-8B89-D71E6E2B35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3794" name="Object 33">
                        <a:extLst>
                          <a:ext uri="{FF2B5EF4-FFF2-40B4-BE49-F238E27FC236}">
                            <a16:creationId xmlns:a16="http://schemas.microsoft.com/office/drawing/2014/main" id="{93CB499B-DF64-7640-9771-EDCE2A9F90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26C7715D-95D8-1A41-8D40-B130D5E381BA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8A7C2C0-AF62-5E4D-9F3B-0A509E473210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6AFE7CF9-284A-4C41-88B8-B7E23EB41A82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4555E286-27A4-3342-8DCC-58A1388E9111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05606BF3-6424-F440-9648-1A34973A77D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F793DE7-E034-754B-9444-2B491393609E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7E1D2CA0-3A1F-5A4F-9CF1-C89DE5958A0D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DE07F50E-8CFD-1A4A-8AFA-E0EC16A4504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B1C92957-BEFF-CA4F-B5DD-CE838E9FCE46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A03A6FF6-3D9C-C840-A189-D3E7F1A8F9C1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4ACDD0C1-B7F4-1A4C-A915-5E5421F41FEF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FF7110B6-6F2E-E042-9338-5325861219B9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097E26C4-9D75-3F48-B6BF-F5A8DA7F0E9D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0B052ED7-F5F0-7547-A888-78598D8BC819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F9850BD0-4C98-624E-8B2D-55F558373059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396CA964-27F1-0A4F-9943-F49492A271A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39D95407-3323-574A-9C76-C2CC93ACBAF8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9560280E-4618-AE4E-B50F-21DCD0B283E9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66C2A1E9-4622-2541-A31A-B217676727E0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FEC7DA90-CF0E-6B4B-8EC1-8C0C0327FFB3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8122E0A3-DEC7-9846-A681-58623261E06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73032962-309F-E24F-B782-40F1304444B2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67F38C99-9868-4A4C-96AE-CC97149DE21F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3A8A0CD7-A624-3242-818E-34BD8A8C10CB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7">
              <a:extLst>
                <a:ext uri="{FF2B5EF4-FFF2-40B4-BE49-F238E27FC236}">
                  <a16:creationId xmlns:a16="http://schemas.microsoft.com/office/drawing/2014/main" id="{5F1EE187-B732-6E41-ADD0-1D7A640C2F29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F13E0F1D-2995-7F46-B5D0-67B48113E28B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CB430C9D-8402-DD42-AB24-E87C9323E500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Freeform 11">
            <a:extLst>
              <a:ext uri="{FF2B5EF4-FFF2-40B4-BE49-F238E27FC236}">
                <a16:creationId xmlns:a16="http://schemas.microsoft.com/office/drawing/2014/main" id="{33C101D5-E854-BF41-8C4C-4E1374EF7339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77BE02E-C4F7-4945-865D-62075F46FD30}"/>
              </a:ext>
            </a:extLst>
          </p:cNvPr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81C0B0D-6A40-9842-9793-236D045E5A23}"/>
              </a:ext>
            </a:extLst>
          </p:cNvPr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Date Placeholder 4">
            <a:extLst>
              <a:ext uri="{FF2B5EF4-FFF2-40B4-BE49-F238E27FC236}">
                <a16:creationId xmlns:a16="http://schemas.microsoft.com/office/drawing/2014/main" id="{8C6DB2F9-ADD1-C34B-8C35-386C9DA5137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2D9D99-030A-9C4B-8417-816C3979BA53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9" name="Footer Placeholder 5">
            <a:extLst>
              <a:ext uri="{FF2B5EF4-FFF2-40B4-BE49-F238E27FC236}">
                <a16:creationId xmlns:a16="http://schemas.microsoft.com/office/drawing/2014/main" id="{6AE276A8-C14F-6D47-8D05-0E5C95EF38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BEE7E41B-DA8F-0A4D-A5D0-2E2D2FF9599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D6E60C-48CD-D246-8007-2093804368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9833247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24EE2D23-4215-8844-BC9B-151E91BA03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4818" name="Object 33">
                        <a:extLst>
                          <a:ext uri="{FF2B5EF4-FFF2-40B4-BE49-F238E27FC236}">
                            <a16:creationId xmlns:a16="http://schemas.microsoft.com/office/drawing/2014/main" id="{44E18E5D-52B7-134C-B46B-05FE27E426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033D1628-0EF8-EC48-B99C-5B2134093C4B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2FC1906-2DBA-304D-8BED-886A9063A6A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C623EB3B-15ED-A645-91FB-3DBC259720DD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67F23C25-2F5D-BD40-B4E5-745967976FE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93AECA19-6490-2E40-8FC1-4A81BCA1760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11048B2A-5065-CA4F-AFAD-1012DBAB4EF4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4C95ABFC-7560-2E4E-9596-52567E580B0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DC9B3696-57B5-3A41-9D73-BDE96F82262E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33A4A92D-2E01-584E-8B47-F9DDF16DBFA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F852C0C3-5550-9748-9281-BBD6C2CEA115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395CB0C1-0AE9-E148-B32A-BBC8F39CD0DD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0055C39E-E536-B14E-9441-5142FE9B3E31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49EED910-EEE2-414F-A981-6DE29A954D18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795D2D62-2084-294A-873D-DFA35DDA9F0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CFD3071D-8456-7749-9293-DEF27466CD73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EEB0403D-00B0-4940-925F-00A9AA0D02F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460CD52F-A617-8648-BE49-A9130722A1D5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1A9BCE83-ED75-F847-823E-A4FC88ED4AD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233A22A9-45A6-0043-97F8-AC902D6EEFD5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84F7AAD5-9993-7B4C-AE3F-B75CB3C4C590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2A3D915B-A0EB-2048-B7A8-5AF1985DAF7D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DCF021C8-2F34-394A-9214-C1E83189C217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21507FD3-F933-2E4F-BE06-4055FCA41AE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32EDDD4D-D983-5F46-85F0-F6971A6E229D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B3EA012E-A98C-ED4F-984F-C0087B31CF63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C3AB614E-C39F-0941-ACE9-ADA01860035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82DBF70-A597-D349-9E24-D3C58696BD21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11">
            <a:extLst>
              <a:ext uri="{FF2B5EF4-FFF2-40B4-BE49-F238E27FC236}">
                <a16:creationId xmlns:a16="http://schemas.microsoft.com/office/drawing/2014/main" id="{785F67E1-375E-CF47-B136-C453E2E73624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8BAF0903-A355-B144-9958-F1C355BF83E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A5166-C9C3-484E-AE97-673D1B9CCB96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407FABCB-5B2E-A642-AB30-CD4BFEA90C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CB08506F-7EE1-564A-A391-BEDD4661D7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B7C85-E57B-1C42-B8E5-0C2614A923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8369807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3FEC21CB-ACF6-3D41-B7A9-1F4C90DCEA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5842" name="Object 33">
                        <a:extLst>
                          <a:ext uri="{FF2B5EF4-FFF2-40B4-BE49-F238E27FC236}">
                            <a16:creationId xmlns:a16="http://schemas.microsoft.com/office/drawing/2014/main" id="{1CDD5E05-AC7B-0741-A9FF-580154D0B6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E8863FC4-5320-EE49-96E2-11C7DC5A0F4F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13FBA04-CCCA-B442-9150-E81B3003E47F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7FCE92A7-7C12-594C-BCBD-AAFCB7514C0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F78284E2-B84E-0C4D-B5F8-747E2D2D0F36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59B6406E-2A01-C049-ACE0-E6C2DE013D83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DC4E0826-9E88-5A48-B00C-A8EB84B096BA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5796D6BF-2DCC-9342-A68C-84D96196E613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D46F2F8F-6EB1-5A44-A285-BE859E8CF8A2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FE9E0031-E7BC-0747-B2D0-875FB48E282B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0B289933-CEB2-E143-A87E-DB62E6852A1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3511AC93-0FCE-7540-A03E-42D19E587A1D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FC70E09F-6408-C14C-B134-86EEC7A120B2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CF90CC08-D7F4-5B4F-89DB-8AD783B88DF0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3E0E090B-F37A-CD4E-840C-6806AB981E0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89B010FE-C387-C646-B4F7-501E04CC5646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23C8A11F-CF57-D942-ADD2-290FCEFC9BD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2C9A98C0-179A-0541-9BF3-9C027A713882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6BA14806-F6AE-AF4A-89F7-F1769B4940A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7C8F6FCC-7B8D-D843-9931-833C497A5B2E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C0257CDD-DCBE-5B4F-B4FA-C4490A16746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B5D131D-0890-8A43-AC6F-D7D451303B11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B172E67B-6095-0D48-AC89-15B8CE9E6ECB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453E3FD2-67AA-C845-8768-7B4AB2AFDCBD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749DE750-5EFE-924A-98C4-B70992769A5C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3DD8B0AB-0762-9D4D-9D18-A30E02ECEBD5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E3E6F1E3-17DB-6C48-86AC-2F6A757229C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1744F60E-1C6B-A148-931C-37187740259A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61DB435D-8A71-B04E-8284-5F27D0613707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7726EF10-6680-9D4B-B4D5-17DDFC22C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53FE7C-36AA-0544-A0BE-FC89CAA18FFD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14EFB979-0E7D-0B44-B214-71F34436F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B7D0906E-DF44-DF48-9CA1-58A3535A9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9DBEB-A644-6545-98F7-A6A0BEF6F9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7737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59312D53-3B0E-2B49-B3D9-664E7B424B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36866" name="Object 33">
                        <a:extLst>
                          <a:ext uri="{FF2B5EF4-FFF2-40B4-BE49-F238E27FC236}">
                            <a16:creationId xmlns:a16="http://schemas.microsoft.com/office/drawing/2014/main" id="{1192A478-B58D-D147-A859-28F3B6D2975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5C86BE13-1239-1244-9EAC-07BD77A19FB4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CD6E3AC0-DD2F-454F-961E-AADD93330F55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71F52F2B-FF68-8C49-893B-53452E257FA1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8D7F0478-DDD3-2544-81C9-0A6086677381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6978925A-8D7D-7C41-AF21-39D14DE09417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86754A59-C7D8-1A45-9F1F-9ED347D54F57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EAEE5B27-AE75-CA49-B17B-C05C09131A7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3A350BC-C87D-F843-85A0-442E7EF05C3A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A83E4FA7-6917-9642-9385-EAAE1069D51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D77D7B3B-5538-064B-99E4-2169D29D3957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99A02A9A-1F65-8546-B4D0-B673EAA33A48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82A48B99-1339-664A-97F5-BEC9F77446AF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440E5E8-4C07-2945-8C9D-11A1D9BD1821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E894D97F-88A9-7043-A243-0FFDC2AC70F7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A844A379-66C5-8349-9C69-AF609CEEE34F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58AAE487-B2B2-E94F-95A9-D0CFAB0F3FD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84EC7BF3-AC71-AD4D-8A8D-CBF48572A659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0082613E-36DF-5D4F-9FE5-EED2351470EF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91B527D2-703F-FE43-BAB2-16E49784959E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4EA219B3-7532-134E-ABDB-8D877D7C338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516D1855-4CDC-9448-83AB-4644295ED9A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E9074D4C-01F6-8E4C-8B71-B314DB9D6A34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D72F000D-BE4D-7444-B137-96D1F6FC4591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BEA2CA4F-C6ED-C841-9B45-C2FBD82DB243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F8B3DAA8-8F3B-F549-BF0E-72051F136B4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690A7DA4-F78F-7A45-8064-8F9D72D9E3E4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2BD7E00-69DF-974D-AEE3-FFBABD20CB2A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EE1CC6B0-4250-4140-998F-7833A590FF58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8D491847-4FCD-1141-97E8-D95B3892A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941B91-7ED8-BF4C-A94E-7418CB770893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E2F63EDE-45B2-1441-A51D-33C0E8981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328B0B3C-AA4C-E14E-B310-88E362B31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10DDE-05FE-0744-9BCE-55385AA5812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1930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6788A054-8CB7-7D4D-BFAB-B4A64477E1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22530" name="Object 33">
                        <a:extLst>
                          <a:ext uri="{FF2B5EF4-FFF2-40B4-BE49-F238E27FC236}">
                            <a16:creationId xmlns:a16="http://schemas.microsoft.com/office/drawing/2014/main" id="{4E23C3B3-7354-254B-83BC-07B87BCE13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F91BF653-30F4-FE44-9D03-ACC089FED178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DC00D888-3B1B-C541-8563-AA71C78CE143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593B740F-59CE-9D4E-AD89-DB26A689CF32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8F734ED5-72FA-4143-8A4D-DE17522FF82B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BEC84A9F-76E3-2B45-B8BB-1E756C84C4A8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BCB7C423-6160-9A42-890A-F1F0FCC28414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C6169904-95B2-D949-ABAC-C308EDDAFCCC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EEED014-494E-954F-AC53-7B713DC33700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CB02D6F2-6C0E-184C-96DF-82BB0B73578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CB4D938D-4693-F944-BE9D-4DA5897E2066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803671E5-8E40-C046-98B0-6F1001EF78D6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5DCD5A9B-B2D3-574D-B71D-7CE5BF191137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89B5B54-721F-1F4C-AC92-9B0ABF2EAE6F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574EEDD0-E478-BD4A-909A-A7812669AB73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9A268626-9E76-8B49-879C-00989BDB7AB6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C9A10C9F-C173-A742-AC91-5961D2C1057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CB59D0DF-5B27-0141-B178-9FB6817769CD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2F4D5DE8-E5CE-9A46-94BA-276C0C2AB631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0551849B-4804-CF4B-B8A1-605C8DF26AD5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C6F3E01B-AB34-294A-8788-685001002E87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DDB2253D-B336-8146-9F6C-A8FB99C5CBC0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BA38F28B-23D6-7D40-8CD2-DD0EBEEA5DF3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3093D964-F4A4-0241-9729-6B31E824ED55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8B7D720A-8C56-D949-8752-BA166F03EE76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5308F0BA-5727-3447-BA8F-FD1DC2390486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D04D795B-95F6-6C43-9C51-092D4EF2FF9A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CF778C47-B848-B74F-81DB-5CF6103F0EFC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2" name="Object 3">
            <a:extLst>
              <a:ext uri="{FF2B5EF4-FFF2-40B4-BE49-F238E27FC236}">
                <a16:creationId xmlns:a16="http://schemas.microsoft.com/office/drawing/2014/main" id="{56BA8FDE-2E72-E94B-83E0-3BD555D719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22534" name="Object 3">
                        <a:extLst>
                          <a:ext uri="{FF2B5EF4-FFF2-40B4-BE49-F238E27FC236}">
                            <a16:creationId xmlns:a16="http://schemas.microsoft.com/office/drawing/2014/main" id="{55D25646-D0D0-3D46-BB78-B48B4267B3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Freeform 11">
            <a:extLst>
              <a:ext uri="{FF2B5EF4-FFF2-40B4-BE49-F238E27FC236}">
                <a16:creationId xmlns:a16="http://schemas.microsoft.com/office/drawing/2014/main" id="{FE85CA83-D20A-9B41-A482-753B5812BA63}"/>
              </a:ext>
            </a:extLst>
          </p:cNvPr>
          <p:cNvSpPr/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latin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57CAF6C7-EEFF-1747-B636-56F0F1615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9A067-C59F-C644-9E33-9BC3DF639D10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D7B0DC77-1066-1B40-9541-1631B42F4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25BFE376-B104-0940-8EF3-3C3D88596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69AB7A-002A-AD4B-97E7-1657D77181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4955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>
            <a:extLst>
              <a:ext uri="{FF2B5EF4-FFF2-40B4-BE49-F238E27FC236}">
                <a16:creationId xmlns:a16="http://schemas.microsoft.com/office/drawing/2014/main" id="{3B958CCC-F41E-B841-BB3E-361099BE1D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3554" name="Object 33">
                        <a:extLst>
                          <a:ext uri="{FF2B5EF4-FFF2-40B4-BE49-F238E27FC236}">
                            <a16:creationId xmlns:a16="http://schemas.microsoft.com/office/drawing/2014/main" id="{2A383DFF-2F78-3D46-99BE-7573F0FA8A7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22">
            <a:extLst>
              <a:ext uri="{FF2B5EF4-FFF2-40B4-BE49-F238E27FC236}">
                <a16:creationId xmlns:a16="http://schemas.microsoft.com/office/drawing/2014/main" id="{6DED90FA-4153-1C43-BEF9-5D94E7B3ACD2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>
              <a:extLst>
                <a:ext uri="{FF2B5EF4-FFF2-40B4-BE49-F238E27FC236}">
                  <a16:creationId xmlns:a16="http://schemas.microsoft.com/office/drawing/2014/main" id="{41ED6521-4C00-E045-A4BF-EC2843A58C3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D55FB0A9-9969-7843-BB2B-53141670F1E6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3">
              <a:extLst>
                <a:ext uri="{FF2B5EF4-FFF2-40B4-BE49-F238E27FC236}">
                  <a16:creationId xmlns:a16="http://schemas.microsoft.com/office/drawing/2014/main" id="{FF0A4E79-4D50-C248-A600-AF99AD4691B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8BB095A5-1F32-1647-B6C2-B1CDFA4D41A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8C231CF9-70C8-EC46-A80C-CC70E64C8F07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7D80C9AF-DD9D-F44C-92EA-8C6E18D46B7F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50085346-DB7C-F543-9E2F-4544FE20DBC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650DE134-7C2D-7B42-8DAA-6FCAE2B37D1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9">
              <a:extLst>
                <a:ext uri="{FF2B5EF4-FFF2-40B4-BE49-F238E27FC236}">
                  <a16:creationId xmlns:a16="http://schemas.microsoft.com/office/drawing/2014/main" id="{9C5B5480-254A-1246-B3EF-FA3E7878CB62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0">
              <a:extLst>
                <a:ext uri="{FF2B5EF4-FFF2-40B4-BE49-F238E27FC236}">
                  <a16:creationId xmlns:a16="http://schemas.microsoft.com/office/drawing/2014/main" id="{321358D1-81B8-8C43-841D-CCECEA92E131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C1D4E728-1487-E743-8354-782AFE3E7FCC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2">
              <a:extLst>
                <a:ext uri="{FF2B5EF4-FFF2-40B4-BE49-F238E27FC236}">
                  <a16:creationId xmlns:a16="http://schemas.microsoft.com/office/drawing/2014/main" id="{2C0105B8-DBDE-0E4F-A6A0-07C3450B85B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8" name="Group 9">
            <a:extLst>
              <a:ext uri="{FF2B5EF4-FFF2-40B4-BE49-F238E27FC236}">
                <a16:creationId xmlns:a16="http://schemas.microsoft.com/office/drawing/2014/main" id="{4C69F695-CF6A-474C-98EE-60B3A093749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>
              <a:extLst>
                <a:ext uri="{FF2B5EF4-FFF2-40B4-BE49-F238E27FC236}">
                  <a16:creationId xmlns:a16="http://schemas.microsoft.com/office/drawing/2014/main" id="{5675180C-E35F-4A40-82E5-B73635C589B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A0713FFA-1123-934B-9C7A-EF94D52BA743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9">
              <a:extLst>
                <a:ext uri="{FF2B5EF4-FFF2-40B4-BE49-F238E27FC236}">
                  <a16:creationId xmlns:a16="http://schemas.microsoft.com/office/drawing/2014/main" id="{7CD0419F-A863-C748-84CB-C4CDC79AD519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0">
              <a:extLst>
                <a:ext uri="{FF2B5EF4-FFF2-40B4-BE49-F238E27FC236}">
                  <a16:creationId xmlns:a16="http://schemas.microsoft.com/office/drawing/2014/main" id="{6AD60B40-51A9-1442-BC79-802CFA86F525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1">
              <a:extLst>
                <a:ext uri="{FF2B5EF4-FFF2-40B4-BE49-F238E27FC236}">
                  <a16:creationId xmlns:a16="http://schemas.microsoft.com/office/drawing/2014/main" id="{154C20EB-49B0-1E44-BB1B-384F5AA09DFA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2">
              <a:extLst>
                <a:ext uri="{FF2B5EF4-FFF2-40B4-BE49-F238E27FC236}">
                  <a16:creationId xmlns:a16="http://schemas.microsoft.com/office/drawing/2014/main" id="{4403856F-2F79-BD4B-B1C7-824540A7093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3">
              <a:extLst>
                <a:ext uri="{FF2B5EF4-FFF2-40B4-BE49-F238E27FC236}">
                  <a16:creationId xmlns:a16="http://schemas.microsoft.com/office/drawing/2014/main" id="{87E82727-3B44-284F-94B2-D523267077D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4">
              <a:extLst>
                <a:ext uri="{FF2B5EF4-FFF2-40B4-BE49-F238E27FC236}">
                  <a16:creationId xmlns:a16="http://schemas.microsoft.com/office/drawing/2014/main" id="{C59C0415-661B-CB43-A873-972201268F81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5">
              <a:extLst>
                <a:ext uri="{FF2B5EF4-FFF2-40B4-BE49-F238E27FC236}">
                  <a16:creationId xmlns:a16="http://schemas.microsoft.com/office/drawing/2014/main" id="{A06F9DD5-2AD0-8E4D-BEDA-4171B4A0E3A3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6">
              <a:extLst>
                <a:ext uri="{FF2B5EF4-FFF2-40B4-BE49-F238E27FC236}">
                  <a16:creationId xmlns:a16="http://schemas.microsoft.com/office/drawing/2014/main" id="{607659BA-3CC5-5942-B85A-D274DAE70A02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7">
              <a:extLst>
                <a:ext uri="{FF2B5EF4-FFF2-40B4-BE49-F238E27FC236}">
                  <a16:creationId xmlns:a16="http://schemas.microsoft.com/office/drawing/2014/main" id="{94582F8B-EF8D-EC45-A62F-3FB4930E2DCE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8">
              <a:extLst>
                <a:ext uri="{FF2B5EF4-FFF2-40B4-BE49-F238E27FC236}">
                  <a16:creationId xmlns:a16="http://schemas.microsoft.com/office/drawing/2014/main" id="{7766DDB6-2DC4-B148-8E63-49D22748F038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8A0AB5EE-F68D-6D4C-99C1-DF1F00874BBD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Freeform 11">
            <a:extLst>
              <a:ext uri="{FF2B5EF4-FFF2-40B4-BE49-F238E27FC236}">
                <a16:creationId xmlns:a16="http://schemas.microsoft.com/office/drawing/2014/main" id="{CA04B0CF-DF1F-4D42-B2DB-E8A719C0E69D}"/>
              </a:ext>
            </a:extLst>
          </p:cNvPr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4DA21CC7-F41E-A94A-8138-6AFEDDA04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AA5B90-283E-B949-B5A1-CFBDDE108177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6AE12749-BAE1-F84C-926D-7DBE87ED5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C6029B8D-3980-364E-BD18-57FC90D41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7D4CD-CFD6-6F4E-8139-A79DF43F496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392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C4101885-D6B4-0249-B940-76E0135FB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4578" name="Object 33">
                        <a:extLst>
                          <a:ext uri="{FF2B5EF4-FFF2-40B4-BE49-F238E27FC236}">
                            <a16:creationId xmlns:a16="http://schemas.microsoft.com/office/drawing/2014/main" id="{54082EF0-87D1-CC48-A134-D246E78E83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785683FF-FE4C-2844-8F49-0094152B81B1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6AC0DC8B-76B3-5645-AE0E-A35050BA6B96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6F7EBB79-50BA-5E4B-930F-169A807F5A05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F65FE705-7C36-9143-8CE5-6465833DD2F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31AEDA56-011A-A743-A191-4E8F5E10B8EC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A6C4C434-B1A1-EC4B-B433-3AD2D9658F2D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1BAA0294-DC97-7F4D-A2EF-1C6CF49FFD4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643F09FB-23F3-E84E-8C67-AF289ACBEF1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CF6606AB-6390-B44D-9B15-0458E8B7BAB9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C7AEAC70-2353-E843-8C39-57A332658B5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E9C5C37D-1410-6C46-97CE-4247484C4ACC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0E86AD13-ECBD-074F-9FF8-54F3FB123AEA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5224B7FC-3F05-1E47-9DDF-064D88220302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B0251470-F932-B44C-B49C-D52B689A5A36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9C93E1B0-5806-D441-8323-F11AEF11C05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EB5D2B59-7C18-A841-B8F3-14AEFB456675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5141A905-BC92-3745-935F-183CC8EB787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0">
              <a:extLst>
                <a:ext uri="{FF2B5EF4-FFF2-40B4-BE49-F238E27FC236}">
                  <a16:creationId xmlns:a16="http://schemas.microsoft.com/office/drawing/2014/main" id="{118A4C4A-8028-9E48-9EAC-D58A24F21381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1">
              <a:extLst>
                <a:ext uri="{FF2B5EF4-FFF2-40B4-BE49-F238E27FC236}">
                  <a16:creationId xmlns:a16="http://schemas.microsoft.com/office/drawing/2014/main" id="{F80C4D48-580B-D245-A07D-449D89275A46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2">
              <a:extLst>
                <a:ext uri="{FF2B5EF4-FFF2-40B4-BE49-F238E27FC236}">
                  <a16:creationId xmlns:a16="http://schemas.microsoft.com/office/drawing/2014/main" id="{614FFE05-3F16-F246-9D11-751D18052AA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C40B7AD0-0A31-494D-BF18-CE0CE583981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4">
              <a:extLst>
                <a:ext uri="{FF2B5EF4-FFF2-40B4-BE49-F238E27FC236}">
                  <a16:creationId xmlns:a16="http://schemas.microsoft.com/office/drawing/2014/main" id="{E8CD0107-F9CD-4041-86A9-43DC7F0E4C2D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5">
              <a:extLst>
                <a:ext uri="{FF2B5EF4-FFF2-40B4-BE49-F238E27FC236}">
                  <a16:creationId xmlns:a16="http://schemas.microsoft.com/office/drawing/2014/main" id="{BC0446A2-B0F3-234E-9C32-524B683C4313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6">
              <a:extLst>
                <a:ext uri="{FF2B5EF4-FFF2-40B4-BE49-F238E27FC236}">
                  <a16:creationId xmlns:a16="http://schemas.microsoft.com/office/drawing/2014/main" id="{3658BF38-0278-EC4D-956F-E0ABD080D1FA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F6844A28-D418-A54A-B422-24605DF174D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E8E69572-A7A1-064C-B298-EEADFAB6B7EC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2DA377E9-42BD-624C-92FF-29CC6E22C10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Freeform 36">
            <a:extLst>
              <a:ext uri="{FF2B5EF4-FFF2-40B4-BE49-F238E27FC236}">
                <a16:creationId xmlns:a16="http://schemas.microsoft.com/office/drawing/2014/main" id="{22507593-CBAA-F046-84B9-F1969BFBFB09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Date Placeholder 4">
            <a:extLst>
              <a:ext uri="{FF2B5EF4-FFF2-40B4-BE49-F238E27FC236}">
                <a16:creationId xmlns:a16="http://schemas.microsoft.com/office/drawing/2014/main" id="{A6AE3A23-C56A-BA49-AF06-7591D421E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0A8623-4827-2446-91E4-FCE7C8F1F14D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CAEE5F74-EC5D-FD4C-BC70-91552980E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D2629A7-03EA-5C4F-BB66-4B7D224D6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B1B77E-4C51-4E49-A2BA-27EA2D77F2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2394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3">
            <a:extLst>
              <a:ext uri="{FF2B5EF4-FFF2-40B4-BE49-F238E27FC236}">
                <a16:creationId xmlns:a16="http://schemas.microsoft.com/office/drawing/2014/main" id="{34E54097-14FB-154C-91F9-C438FBCDB6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5602" name="Object 33">
                        <a:extLst>
                          <a:ext uri="{FF2B5EF4-FFF2-40B4-BE49-F238E27FC236}">
                            <a16:creationId xmlns:a16="http://schemas.microsoft.com/office/drawing/2014/main" id="{7194C0B8-D774-B44D-A9B8-86E7BE3B3A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2">
            <a:extLst>
              <a:ext uri="{FF2B5EF4-FFF2-40B4-BE49-F238E27FC236}">
                <a16:creationId xmlns:a16="http://schemas.microsoft.com/office/drawing/2014/main" id="{8AAC711F-A29F-484F-8277-9580A1EC32DE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4EAE5DB7-7D31-5E4B-8A4A-9863102EF471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208EC83D-CFF3-3446-BD0C-39C977AF311A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58699FC-9C8F-8742-B2E3-9062F287443D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D75A9D1B-F663-244A-8D24-1FDA79232518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D91B3511-2391-1E41-A061-098101690861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63ADB922-5B29-004F-834A-3CFC5C004034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37DD5004-E52D-BA45-9103-686C54DF8631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38628D57-884C-954C-999B-6A29575DF06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A30702A7-1111-D245-9582-95E7B2DE3A16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2CADFA78-5E45-F34D-80F4-F227CF5DEC6F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4122C1BE-D671-E54F-8E4C-4FB82CF8221D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FB7D8B15-271A-594E-BB59-B825BED1C04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2" name="Group 9">
            <a:extLst>
              <a:ext uri="{FF2B5EF4-FFF2-40B4-BE49-F238E27FC236}">
                <a16:creationId xmlns:a16="http://schemas.microsoft.com/office/drawing/2014/main" id="{14DB55EE-8753-414C-BA1B-ADDAC81D3C3F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DCE13FBD-CAE2-4C45-A5AE-8486C43AAEAB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2603901B-D994-1F47-9810-183916A054F7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A3A4123-FAFF-1146-8407-667FDE58D5A3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3E1127FE-7D07-D147-A451-ED58316765A5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7FEB6D1E-2513-EC46-BA95-9D3006A50338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54B8E765-9EBC-4E48-AFFB-78EA9267639E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4D556D05-DDC4-2649-8EC4-E1B87EE199EA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9CF328EC-B806-8D42-A456-CF07268E1FE9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CD58B10B-78E6-4D41-9AF2-9460CE91FFAD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B3EBF8BC-5CB8-154B-B8DC-8B2F98C44F39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64D78F00-6E20-8C49-A28C-CD5600DC36F7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F901B7DE-B2E3-7F41-A8AF-914E46062B4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5E66EF12-8252-C545-ABF1-0CFB06180F78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Freeform 36">
            <a:extLst>
              <a:ext uri="{FF2B5EF4-FFF2-40B4-BE49-F238E27FC236}">
                <a16:creationId xmlns:a16="http://schemas.microsoft.com/office/drawing/2014/main" id="{535C4E0A-30AB-024B-9529-B2AA4CF3DE97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Date Placeholder 6">
            <a:extLst>
              <a:ext uri="{FF2B5EF4-FFF2-40B4-BE49-F238E27FC236}">
                <a16:creationId xmlns:a16="http://schemas.microsoft.com/office/drawing/2014/main" id="{02B4465D-2362-6745-8751-6C48D6C88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51627-8E3B-1D45-89DE-A2C03D775348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8" name="Footer Placeholder 7">
            <a:extLst>
              <a:ext uri="{FF2B5EF4-FFF2-40B4-BE49-F238E27FC236}">
                <a16:creationId xmlns:a16="http://schemas.microsoft.com/office/drawing/2014/main" id="{B5CAD8E1-B8B8-A948-BA6D-0299F206E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8EA82568-AA24-3740-9333-1E68B7A09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9B230-80AA-3342-922F-217A1B62D3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2770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3">
            <a:extLst>
              <a:ext uri="{FF2B5EF4-FFF2-40B4-BE49-F238E27FC236}">
                <a16:creationId xmlns:a16="http://schemas.microsoft.com/office/drawing/2014/main" id="{EEFEE5A3-9371-BF4C-828C-62EA82663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6626" name="Object 33">
                        <a:extLst>
                          <a:ext uri="{FF2B5EF4-FFF2-40B4-BE49-F238E27FC236}">
                            <a16:creationId xmlns:a16="http://schemas.microsoft.com/office/drawing/2014/main" id="{48F6C089-DCC2-9E4D-9C7A-5BBBA2440B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22">
            <a:extLst>
              <a:ext uri="{FF2B5EF4-FFF2-40B4-BE49-F238E27FC236}">
                <a16:creationId xmlns:a16="http://schemas.microsoft.com/office/drawing/2014/main" id="{0B5E8D6D-DDB4-0243-B03E-18414E7EEAE1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A5570B41-57D5-9845-90E3-53F030D2D2B4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329C344E-304A-0547-AC4A-BCBEC7877607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A350B41D-8AB7-9541-BB31-37378A96B81A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B3AA79B-B1B8-0744-A803-5058C57A79D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06481B62-0C99-F543-B715-13F69E70778E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6">
              <a:extLst>
                <a:ext uri="{FF2B5EF4-FFF2-40B4-BE49-F238E27FC236}">
                  <a16:creationId xmlns:a16="http://schemas.microsoft.com/office/drawing/2014/main" id="{67C6C192-B5BB-EE44-8E81-DB85B1A5A51D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AE638C7C-1167-CF4C-AA74-1EE654527DA4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8">
              <a:extLst>
                <a:ext uri="{FF2B5EF4-FFF2-40B4-BE49-F238E27FC236}">
                  <a16:creationId xmlns:a16="http://schemas.microsoft.com/office/drawing/2014/main" id="{9D1A8B17-A1B2-9A49-9A00-A9D875B9AD62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B68AA733-AAB9-A64E-BB89-F288559A7A01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20">
              <a:extLst>
                <a:ext uri="{FF2B5EF4-FFF2-40B4-BE49-F238E27FC236}">
                  <a16:creationId xmlns:a16="http://schemas.microsoft.com/office/drawing/2014/main" id="{685D8DC2-41FE-0C42-A4F5-D4FB507267A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1">
              <a:extLst>
                <a:ext uri="{FF2B5EF4-FFF2-40B4-BE49-F238E27FC236}">
                  <a16:creationId xmlns:a16="http://schemas.microsoft.com/office/drawing/2014/main" id="{04B9A0DA-09B2-704C-A5D8-B3DB20BF6263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2">
              <a:extLst>
                <a:ext uri="{FF2B5EF4-FFF2-40B4-BE49-F238E27FC236}">
                  <a16:creationId xmlns:a16="http://schemas.microsoft.com/office/drawing/2014/main" id="{DB86065B-3021-5C48-98B5-B74861E05489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7" name="Group 9">
            <a:extLst>
              <a:ext uri="{FF2B5EF4-FFF2-40B4-BE49-F238E27FC236}">
                <a16:creationId xmlns:a16="http://schemas.microsoft.com/office/drawing/2014/main" id="{000772E8-7E84-FC49-82E4-CAAA0782D1F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3287F11F-A822-4442-9A9A-6054DF115671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176EA1CC-B84A-ED4E-AA3D-43C06335731F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5705BF38-CC1C-5145-AF66-1F854ADFF13C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ECA240C2-010C-B044-982D-E8B76DEE8A9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1">
              <a:extLst>
                <a:ext uri="{FF2B5EF4-FFF2-40B4-BE49-F238E27FC236}">
                  <a16:creationId xmlns:a16="http://schemas.microsoft.com/office/drawing/2014/main" id="{9C3651E6-D554-914B-92F3-A7CAD1A38BBA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2">
              <a:extLst>
                <a:ext uri="{FF2B5EF4-FFF2-40B4-BE49-F238E27FC236}">
                  <a16:creationId xmlns:a16="http://schemas.microsoft.com/office/drawing/2014/main" id="{77EE2C46-6799-9443-89EE-C8AAA0D46115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3">
              <a:extLst>
                <a:ext uri="{FF2B5EF4-FFF2-40B4-BE49-F238E27FC236}">
                  <a16:creationId xmlns:a16="http://schemas.microsoft.com/office/drawing/2014/main" id="{A23E6C32-F490-DA49-BF63-1C4A1A161374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C95F0839-7B8F-E548-BE86-67F54F433434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7BB2ADB6-B895-E747-A89D-35FDF963A4BC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3D23A311-75FE-664C-B098-34B3DBFCD38C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40F43A1A-D519-C145-8058-1A867CC977FC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DC263280-3A6D-9E42-B7AA-D10C9CE3FDBE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42F1083-3C2A-8842-A5FD-8F84DA2C3995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Freeform 11">
            <a:extLst>
              <a:ext uri="{FF2B5EF4-FFF2-40B4-BE49-F238E27FC236}">
                <a16:creationId xmlns:a16="http://schemas.microsoft.com/office/drawing/2014/main" id="{BF934682-4187-3D4F-A40B-EECD99164EC0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2" name="Date Placeholder 2">
            <a:extLst>
              <a:ext uri="{FF2B5EF4-FFF2-40B4-BE49-F238E27FC236}">
                <a16:creationId xmlns:a16="http://schemas.microsoft.com/office/drawing/2014/main" id="{017F39D2-748F-8149-AB3A-141B233B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09AED-91AC-424E-9290-4D2E41957B94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3" name="Footer Placeholder 3">
            <a:extLst>
              <a:ext uri="{FF2B5EF4-FFF2-40B4-BE49-F238E27FC236}">
                <a16:creationId xmlns:a16="http://schemas.microsoft.com/office/drawing/2014/main" id="{EADBBF8D-2E2C-A248-B7E2-892BAB738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F67A0608-965C-EF44-B1A8-4DD3087EF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8D4BF-E9EE-C04F-AC06-BB33FCA612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95027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3">
            <a:extLst>
              <a:ext uri="{FF2B5EF4-FFF2-40B4-BE49-F238E27FC236}">
                <a16:creationId xmlns:a16="http://schemas.microsoft.com/office/drawing/2014/main" id="{76DACF0B-3DDA-BE4E-9C3D-2A2BCD627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7650" name="Object 33">
                        <a:extLst>
                          <a:ext uri="{FF2B5EF4-FFF2-40B4-BE49-F238E27FC236}">
                            <a16:creationId xmlns:a16="http://schemas.microsoft.com/office/drawing/2014/main" id="{5FB5E723-8851-D24B-80FB-F409B8F121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2">
            <a:extLst>
              <a:ext uri="{FF2B5EF4-FFF2-40B4-BE49-F238E27FC236}">
                <a16:creationId xmlns:a16="http://schemas.microsoft.com/office/drawing/2014/main" id="{3C833475-A471-5342-BEB6-EB5D8C5D4B9B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034197E4-8F61-D64F-8C0F-DE2ACB1A2D9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0E251A22-1F61-7E43-AB7F-DF24D8D70F60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B79E91C7-9D2B-6347-A81D-C79DEFA1552E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50E723ED-3681-734F-8BDB-C94B5447FFB5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44A726EE-0519-FE47-83F4-C21420780E73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9F11A93-98A0-5D43-A6CC-B851ABAC0C67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E54901A3-D4DB-3A42-80DA-576A07CFFD05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FB317D02-F7D0-5647-ACD8-2C4E226EC40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8CE18AB3-5A35-3447-8F01-0757F7A87F49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2D26BBAD-DBAE-D34D-A6F2-AC948E5CBD77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21">
              <a:extLst>
                <a:ext uri="{FF2B5EF4-FFF2-40B4-BE49-F238E27FC236}">
                  <a16:creationId xmlns:a16="http://schemas.microsoft.com/office/drawing/2014/main" id="{57B5E1B6-F107-194D-8D9C-6B80ABB9210E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AA84C1F3-D5DC-3F42-A3B2-47D05E88358E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F0698391-4A10-7F4A-80F1-8CC900DD191F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90CFDCBB-A81C-744B-8457-7C78E82C156F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9DB3DA96-C574-FF41-9205-6DE8B989B87E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29">
              <a:extLst>
                <a:ext uri="{FF2B5EF4-FFF2-40B4-BE49-F238E27FC236}">
                  <a16:creationId xmlns:a16="http://schemas.microsoft.com/office/drawing/2014/main" id="{838549C9-38A1-8140-B5CC-90CFB3C40C71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30">
              <a:extLst>
                <a:ext uri="{FF2B5EF4-FFF2-40B4-BE49-F238E27FC236}">
                  <a16:creationId xmlns:a16="http://schemas.microsoft.com/office/drawing/2014/main" id="{ED968D8E-A217-7941-8E7E-5DE0AD129AC7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1">
              <a:extLst>
                <a:ext uri="{FF2B5EF4-FFF2-40B4-BE49-F238E27FC236}">
                  <a16:creationId xmlns:a16="http://schemas.microsoft.com/office/drawing/2014/main" id="{EB293112-5FDE-5845-9E3D-B6434BA7FDC4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2">
              <a:extLst>
                <a:ext uri="{FF2B5EF4-FFF2-40B4-BE49-F238E27FC236}">
                  <a16:creationId xmlns:a16="http://schemas.microsoft.com/office/drawing/2014/main" id="{8064F65F-3643-514D-9774-6AA5EFF8DFA4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3">
              <a:extLst>
                <a:ext uri="{FF2B5EF4-FFF2-40B4-BE49-F238E27FC236}">
                  <a16:creationId xmlns:a16="http://schemas.microsoft.com/office/drawing/2014/main" id="{34EEFBD7-107C-AA4C-852F-3B5B92C3600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4">
              <a:extLst>
                <a:ext uri="{FF2B5EF4-FFF2-40B4-BE49-F238E27FC236}">
                  <a16:creationId xmlns:a16="http://schemas.microsoft.com/office/drawing/2014/main" id="{5E0A6976-E938-BA44-A580-13A347955B47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5">
              <a:extLst>
                <a:ext uri="{FF2B5EF4-FFF2-40B4-BE49-F238E27FC236}">
                  <a16:creationId xmlns:a16="http://schemas.microsoft.com/office/drawing/2014/main" id="{62B0E594-0A14-4B47-AE62-D0BF28BC86BC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6">
              <a:extLst>
                <a:ext uri="{FF2B5EF4-FFF2-40B4-BE49-F238E27FC236}">
                  <a16:creationId xmlns:a16="http://schemas.microsoft.com/office/drawing/2014/main" id="{53A2B707-66C7-0B49-8107-DC18301ACB38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7">
              <a:extLst>
                <a:ext uri="{FF2B5EF4-FFF2-40B4-BE49-F238E27FC236}">
                  <a16:creationId xmlns:a16="http://schemas.microsoft.com/office/drawing/2014/main" id="{8B3D6165-6F3C-3A47-B350-07BC2536085D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8">
              <a:extLst>
                <a:ext uri="{FF2B5EF4-FFF2-40B4-BE49-F238E27FC236}">
                  <a16:creationId xmlns:a16="http://schemas.microsoft.com/office/drawing/2014/main" id="{42A3EB1B-CF35-3146-9456-FD5C293DD202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13400BED-ADFF-A345-8417-9F6DB39B32DB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Freeform 11">
            <a:extLst>
              <a:ext uri="{FF2B5EF4-FFF2-40B4-BE49-F238E27FC236}">
                <a16:creationId xmlns:a16="http://schemas.microsoft.com/office/drawing/2014/main" id="{3D47031C-2058-1740-AFEE-8CD9ABEAD0BC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31" name="Date Placeholder 1">
            <a:extLst>
              <a:ext uri="{FF2B5EF4-FFF2-40B4-BE49-F238E27FC236}">
                <a16:creationId xmlns:a16="http://schemas.microsoft.com/office/drawing/2014/main" id="{48ADE4DF-D62F-F34E-8544-39D63F283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3DE8CE-4310-7B47-B21A-7112B0F0A07A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F7FB3D28-1F0D-6F4C-8666-0E6C6DEA9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B150BFB9-B3F2-9B49-95D6-34733498D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13EB2-C259-7943-8EF4-32024B1AA3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88789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E19B6876-B789-954E-858F-0ECF0F63A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8674" name="Object 33">
                        <a:extLst>
                          <a:ext uri="{FF2B5EF4-FFF2-40B4-BE49-F238E27FC236}">
                            <a16:creationId xmlns:a16="http://schemas.microsoft.com/office/drawing/2014/main" id="{7CD57277-C53D-AD47-BB08-85E784D305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1F4393BB-DD5F-344D-9181-282B951BD738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0A2E026F-F562-814F-8634-8C1B0522C4FA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B3D324CD-7A8F-8942-8F86-864FCE9C77AA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A57947F8-6788-E142-9FE1-FA13F3622175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CFA41A74-897F-D641-A676-01982CFDF7C0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A5E090AF-D5FB-5F4B-92AF-CF038E3A5E80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38948CBE-709D-3147-9C09-BBD9248BE0DA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FF919383-D131-9844-9360-939AC4B02E63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7AFE5AF3-2DC2-EB42-A4BB-18E858C8BD74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6B6F1FF9-1A72-3C45-9173-62C172DB7DFA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B7316755-AEC5-9042-BF09-0C5B4C880AA5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FA31C3A9-099B-DA41-BB38-BAC4B01435E6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97430443-18ED-A44C-B047-4A87117AAA5D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B34FF13B-3CD9-A64F-901D-CB65A5A113FA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0D283344-142C-8D41-9D50-F4F1316B8104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3ADA05AE-8DCE-134B-83E5-C85BDAE45F4F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A7A90E7E-CF97-4549-86EE-EC81ACF935EE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0C30A670-303A-FC44-B61B-61BA851BCBBC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24FC5F6F-CFC0-7047-8BF9-4D1E75183022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EABC12D4-493B-F244-8AEF-997858E37592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96162FD3-D60A-9640-AFAF-94FB55B31CD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7254A374-D015-F349-9758-1C0C3BD60E19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C8CE540A-3119-914E-8E8A-06420A926417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BEBA4792-A1BB-634E-BC46-4E1321175A79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F029A31E-682E-CC4B-B913-F836211776CC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FCE5B631-3AFF-2C43-A180-7C9EC521A6C1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FEE6B1C-481F-7343-B48C-88A700B0D841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E69A6EDA-479A-CF43-95C6-F19EB75409B8}"/>
              </a:ext>
            </a:extLst>
          </p:cNvPr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D07BD195-5EFB-E545-8A54-F3546846D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1E08C5-1D0B-3843-9992-1A94032CB34F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B1B2C487-F244-3643-9072-2339ECE91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85843E4C-31BD-F945-A4CD-4CC634E92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7A4E1C-87B8-854D-8BD5-E12E98287BF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2873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>
            <a:extLst>
              <a:ext uri="{FF2B5EF4-FFF2-40B4-BE49-F238E27FC236}">
                <a16:creationId xmlns:a16="http://schemas.microsoft.com/office/drawing/2014/main" id="{B81A7D7D-14E4-8741-B2AA-160637D59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00" imgH="38100" progId="TCLayout.ActiveDocument.1">
                  <p:embed/>
                </p:oleObj>
              </mc:Choice>
              <mc:Fallback>
                <p:oleObj name="think-cell Slide" r:id="rId3" imgW="38100" imgH="38100" progId="TCLayout.ActiveDocument.1">
                  <p:embed/>
                  <p:pic>
                    <p:nvPicPr>
                      <p:cNvPr id="29698" name="Object 33">
                        <a:extLst>
                          <a:ext uri="{FF2B5EF4-FFF2-40B4-BE49-F238E27FC236}">
                            <a16:creationId xmlns:a16="http://schemas.microsoft.com/office/drawing/2014/main" id="{5F4C840D-3948-CD43-993A-C70B547F06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2">
            <a:extLst>
              <a:ext uri="{FF2B5EF4-FFF2-40B4-BE49-F238E27FC236}">
                <a16:creationId xmlns:a16="http://schemas.microsoft.com/office/drawing/2014/main" id="{BD8081E7-6B23-2A4F-821B-B46033208F45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>
              <a:extLst>
                <a:ext uri="{FF2B5EF4-FFF2-40B4-BE49-F238E27FC236}">
                  <a16:creationId xmlns:a16="http://schemas.microsoft.com/office/drawing/2014/main" id="{AF06CE24-8318-204D-A2F1-3D27C4548FF5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1D46C79F-57D3-2048-AACB-25FAAB40E5C5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EA3333E7-BC63-BC4F-A37F-6578F038D2A9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53E1C2C3-9854-8544-BBFE-792D191D0691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3D0A929D-D9C6-324F-A3B4-89D7A8EF3D16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DC2D8F64-2DA8-C541-B570-43C9C3FA5E5B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DB56E84B-19CE-5A4E-9E48-646930FC6A4B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68EBB6A2-CC0B-E54C-94E2-B04808F25DF3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813626F0-CDF5-0F4D-9FF7-8691DB16418F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6553624C-21C6-9345-BC68-06D44453DFB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B9FBBC05-77A3-0543-A1B6-05F40FAC5164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C9F805A7-BE6E-4045-9866-804CC64A6FD0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oup 9">
            <a:extLst>
              <a:ext uri="{FF2B5EF4-FFF2-40B4-BE49-F238E27FC236}">
                <a16:creationId xmlns:a16="http://schemas.microsoft.com/office/drawing/2014/main" id="{4FB23B81-CF1F-AC4E-BC82-C5E05E9189A4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6175551F-1C6D-9E42-A33F-88D9B06EC628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EDD5B509-BFDF-664E-888B-AE770CA525E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8555BA50-D430-944D-8C84-62DB7EA02B56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5E07446E-4EAE-CE45-9AE8-5E5C56CF47FD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FEDB5597-48BC-B141-90D9-3A7AF8CD6D72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62A109AA-BE65-F84C-A88F-1720766A24C5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48F58E02-09EB-6B48-BBA5-04E095F74A93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0CAC7EE9-E333-FA44-B467-B354F78ADE66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3AB6E959-533D-A748-9840-B55697FF8C70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9F5FDA2D-A758-4741-B251-E0C52B584420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6D8F68C0-5587-DC4F-AD3F-C313596D3468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AC2E1135-BCD7-0641-874C-89874351B110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FD51EE85-D69D-0447-B7B1-D09461A73240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Freeform 11">
            <a:extLst>
              <a:ext uri="{FF2B5EF4-FFF2-40B4-BE49-F238E27FC236}">
                <a16:creationId xmlns:a16="http://schemas.microsoft.com/office/drawing/2014/main" id="{9E53F478-94AD-734D-9791-87B90B858264}"/>
              </a:ext>
            </a:extLst>
          </p:cNvPr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Date Placeholder 4">
            <a:extLst>
              <a:ext uri="{FF2B5EF4-FFF2-40B4-BE49-F238E27FC236}">
                <a16:creationId xmlns:a16="http://schemas.microsoft.com/office/drawing/2014/main" id="{EE28A685-5326-E34A-8D56-7F0298E5D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DB9A6-FCCC-0C47-8364-3B771FE91D28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35" name="Footer Placeholder 5">
            <a:extLst>
              <a:ext uri="{FF2B5EF4-FFF2-40B4-BE49-F238E27FC236}">
                <a16:creationId xmlns:a16="http://schemas.microsoft.com/office/drawing/2014/main" id="{E2644224-53C3-184F-9735-5DA4C392E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D47CCCD7-05B8-8D45-9D7F-FD21D54B4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FB990-27CF-8740-8086-C92BD36850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2411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FFFF"/>
            </a:gs>
            <a:gs pos="100000">
              <a:srgbClr val="C5DEE5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3">
            <a:extLst>
              <a:ext uri="{FF2B5EF4-FFF2-40B4-BE49-F238E27FC236}">
                <a16:creationId xmlns:a16="http://schemas.microsoft.com/office/drawing/2014/main" id="{150B0928-2084-9946-8737-BF1B0D94E7F3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Object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7" name="Group 22">
            <a:extLst>
              <a:ext uri="{FF2B5EF4-FFF2-40B4-BE49-F238E27FC236}">
                <a16:creationId xmlns:a16="http://schemas.microsoft.com/office/drawing/2014/main" id="{230B21BF-B485-E449-B55C-C1B18AA32862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F8AE2DBC-89D7-1745-9673-EDB544DF49A9}"/>
                </a:ext>
              </a:extLst>
            </p:cNvPr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5689B2E-6B9F-5D45-9D03-7246FAF88AB4}"/>
                </a:ext>
              </a:extLst>
            </p:cNvPr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B229F14A-D226-854E-A797-721E538DFCAF}"/>
                </a:ext>
              </a:extLst>
            </p:cNvPr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D7C59-2DE2-D84C-9E02-D3A40682DCF2}"/>
                </a:ext>
              </a:extLst>
            </p:cNvPr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595B787-DF36-1E42-AD43-4668039B1D95}"/>
                </a:ext>
              </a:extLst>
            </p:cNvPr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54C22D1-4DF8-7343-8451-FBCBD88C0AA5}"/>
                </a:ext>
              </a:extLst>
            </p:cNvPr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79F04868-9178-204C-A6F5-D72251224270}"/>
                </a:ext>
              </a:extLst>
            </p:cNvPr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006CA5A8-B4F3-A94A-AE1E-358AB133E968}"/>
                </a:ext>
              </a:extLst>
            </p:cNvPr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5EB64079-9848-1A44-B2E8-A73E032A23F0}"/>
                </a:ext>
              </a:extLst>
            </p:cNvPr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8E347BF9-6196-3645-A338-54116380CDF9}"/>
                </a:ext>
              </a:extLst>
            </p:cNvPr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745621E-5D72-FD44-AE89-A2EC402D0B30}"/>
                </a:ext>
              </a:extLst>
            </p:cNvPr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CBE13F8A-085A-3A49-A608-E58B7F5FC86B}"/>
                </a:ext>
              </a:extLst>
            </p:cNvPr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28" name="Group 9">
            <a:extLst>
              <a:ext uri="{FF2B5EF4-FFF2-40B4-BE49-F238E27FC236}">
                <a16:creationId xmlns:a16="http://schemas.microsoft.com/office/drawing/2014/main" id="{16D3EC18-256D-B74D-A6AB-8F869562E96E}"/>
              </a:ext>
            </a:extLst>
          </p:cNvPr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1" name="Freeform 27">
              <a:extLst>
                <a:ext uri="{FF2B5EF4-FFF2-40B4-BE49-F238E27FC236}">
                  <a16:creationId xmlns:a16="http://schemas.microsoft.com/office/drawing/2014/main" id="{0EB9CB05-931C-C740-A01A-6C8640E3AF8C}"/>
                </a:ext>
              </a:extLst>
            </p:cNvPr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40963344-3FC0-A248-ADD5-51136802EC1C}"/>
                </a:ext>
              </a:extLst>
            </p:cNvPr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21E98BF8-C73F-7F4D-BF22-F61902C1B9CD}"/>
                </a:ext>
              </a:extLst>
            </p:cNvPr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4" name="Freeform 30">
              <a:extLst>
                <a:ext uri="{FF2B5EF4-FFF2-40B4-BE49-F238E27FC236}">
                  <a16:creationId xmlns:a16="http://schemas.microsoft.com/office/drawing/2014/main" id="{4195385C-F755-A74F-8432-BC90BF7C6EDE}"/>
                </a:ext>
              </a:extLst>
            </p:cNvPr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5" name="Freeform 31">
              <a:extLst>
                <a:ext uri="{FF2B5EF4-FFF2-40B4-BE49-F238E27FC236}">
                  <a16:creationId xmlns:a16="http://schemas.microsoft.com/office/drawing/2014/main" id="{84E5CB6B-4614-AC42-A325-E327829806AB}"/>
                </a:ext>
              </a:extLst>
            </p:cNvPr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6255A97C-464F-8043-A8A3-EDB979C04C3A}"/>
                </a:ext>
              </a:extLst>
            </p:cNvPr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7" name="Freeform 33">
              <a:extLst>
                <a:ext uri="{FF2B5EF4-FFF2-40B4-BE49-F238E27FC236}">
                  <a16:creationId xmlns:a16="http://schemas.microsoft.com/office/drawing/2014/main" id="{5E14ACC5-BC64-674A-9C51-73BA1B381DEE}"/>
                </a:ext>
              </a:extLst>
            </p:cNvPr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8" name="Freeform 34">
              <a:extLst>
                <a:ext uri="{FF2B5EF4-FFF2-40B4-BE49-F238E27FC236}">
                  <a16:creationId xmlns:a16="http://schemas.microsoft.com/office/drawing/2014/main" id="{46861031-CE42-9442-890E-AF1308B7F30B}"/>
                </a:ext>
              </a:extLst>
            </p:cNvPr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19" name="Freeform 35">
              <a:extLst>
                <a:ext uri="{FF2B5EF4-FFF2-40B4-BE49-F238E27FC236}">
                  <a16:creationId xmlns:a16="http://schemas.microsoft.com/office/drawing/2014/main" id="{1D9F3393-0997-2B45-BF27-B64DFD2A2364}"/>
                </a:ext>
              </a:extLst>
            </p:cNvPr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0" name="Freeform 36">
              <a:extLst>
                <a:ext uri="{FF2B5EF4-FFF2-40B4-BE49-F238E27FC236}">
                  <a16:creationId xmlns:a16="http://schemas.microsoft.com/office/drawing/2014/main" id="{7253E979-EAE8-8445-9465-86CF389B0D51}"/>
                </a:ext>
              </a:extLst>
            </p:cNvPr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1" name="Freeform 37">
              <a:extLst>
                <a:ext uri="{FF2B5EF4-FFF2-40B4-BE49-F238E27FC236}">
                  <a16:creationId xmlns:a16="http://schemas.microsoft.com/office/drawing/2014/main" id="{8BEF204C-40E9-3641-A99D-7282271C2486}"/>
                </a:ext>
              </a:extLst>
            </p:cNvPr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  <p:sp>
          <p:nvSpPr>
            <p:cNvPr id="22" name="Freeform 38">
              <a:extLst>
                <a:ext uri="{FF2B5EF4-FFF2-40B4-BE49-F238E27FC236}">
                  <a16:creationId xmlns:a16="http://schemas.microsoft.com/office/drawing/2014/main" id="{B71D1B69-412C-8541-B650-9416D3A93F15}"/>
                </a:ext>
              </a:extLst>
            </p:cNvPr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>
                <a:latin typeface="Century Gothic" panose="020B0502020202020204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34533D8E-DCD0-B14B-B6F0-C255F7C68E2F}"/>
              </a:ext>
            </a:extLst>
          </p:cNvPr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030" name="Title Placeholder 1">
            <a:extLst>
              <a:ext uri="{FF2B5EF4-FFF2-40B4-BE49-F238E27FC236}">
                <a16:creationId xmlns:a16="http://schemas.microsoft.com/office/drawing/2014/main" id="{0AAE2DD9-4873-D74B-9FB4-FADA55EBB7A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92388" y="623888"/>
            <a:ext cx="8912225" cy="128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EF3D6528-8DF9-F541-AE65-420BA7D480D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589213" y="2133600"/>
            <a:ext cx="8915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C2E47-077A-D84B-9164-A4F2DA9B01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1613" y="6130925"/>
            <a:ext cx="1146175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C6E0057E-FACA-D14B-88C7-DAE2B7B567D4}" type="datetime1">
              <a:rPr lang="en-US" altLang="en-US"/>
              <a:pPr>
                <a:defRPr/>
              </a:pPr>
              <a:t>3/19/23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A5B79-52BD-A147-9B4D-40205678E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89213" y="6135688"/>
            <a:ext cx="7620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898989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E69BB2-2F09-0543-B7C9-E3657E297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31813" y="787400"/>
            <a:ext cx="779462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2000">
                <a:solidFill>
                  <a:srgbClr val="FEFFF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8223F4EA-6416-E142-89EF-B1E2B0F68E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178DBB"/>
          </a:solidFill>
          <a:latin typeface="+mj-lt"/>
          <a:ea typeface="ＭＳ Ｐゴシック" pitchFamily="1" charset="-128"/>
          <a:cs typeface="ＭＳ Ｐゴシック" pitchFamily="1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  <a:ea typeface="ＭＳ Ｐゴシック" pitchFamily="1" charset="-128"/>
          <a:cs typeface="ＭＳ Ｐゴシック" pitchFamily="1" charset="-128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kern="1200">
          <a:solidFill>
            <a:srgbClr val="404040"/>
          </a:solidFill>
          <a:latin typeface="+mn-lt"/>
          <a:ea typeface="ＭＳ Ｐゴシック" pitchFamily="1" charset="-128"/>
          <a:cs typeface="ＭＳ Ｐゴシック" pitchFamily="1" charset="-128"/>
        </a:defRPr>
      </a:lvl1pPr>
      <a:lvl2pPr marL="742950" indent="-28575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6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2pPr>
      <a:lvl3pPr marL="11430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4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3pPr>
      <a:lvl4pPr marL="16002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2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4pPr>
      <a:lvl5pPr marL="20574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2" charset="2"/>
        <a:buChar char=""/>
        <a:defRPr sz="1200" kern="1200">
          <a:solidFill>
            <a:srgbClr val="404040"/>
          </a:solidFill>
          <a:latin typeface="+mn-lt"/>
          <a:ea typeface="ＭＳ Ｐゴシック" pitchFamily="4" charset="-128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>
            <a:extLst>
              <a:ext uri="{FF2B5EF4-FFF2-40B4-BE49-F238E27FC236}">
                <a16:creationId xmlns:a16="http://schemas.microsoft.com/office/drawing/2014/main" id="{5B45DD53-54DC-EE4F-9C5C-1EBF5AEB37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400" cy="2262188"/>
          </a:xfrm>
        </p:spPr>
        <p:txBody>
          <a:bodyPr/>
          <a:lstStyle/>
          <a:p>
            <a:pPr eaLnBrk="1" hangingPunct="1"/>
            <a:r>
              <a:rPr lang="en-GB" altLang="en-US">
                <a:ea typeface="ＭＳ Ｐゴシック" panose="020B0600070205080204" pitchFamily="34" charset="-128"/>
              </a:rPr>
              <a:t>RUISLIP BAPTIST CHURCH</a:t>
            </a:r>
          </a:p>
        </p:txBody>
      </p:sp>
      <p:sp>
        <p:nvSpPr>
          <p:cNvPr id="18434" name="Subtitle 2">
            <a:extLst>
              <a:ext uri="{FF2B5EF4-FFF2-40B4-BE49-F238E27FC236}">
                <a16:creationId xmlns:a16="http://schemas.microsoft.com/office/drawing/2014/main" id="{D50ECE8C-D724-5A4C-B39A-7CDCC3C7B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89213" y="4776788"/>
            <a:ext cx="8915400" cy="1127125"/>
          </a:xfrm>
        </p:spPr>
        <p:txBody>
          <a:bodyPr/>
          <a:lstStyle/>
          <a:p>
            <a:pPr eaLnBrk="1" hangingPunct="1"/>
            <a:r>
              <a:rPr lang="en-GB" altLang="en-US">
                <a:solidFill>
                  <a:srgbClr val="595959"/>
                </a:solidFill>
                <a:ea typeface="ＭＳ Ｐゴシック" panose="020B0600070205080204" pitchFamily="34" charset="-128"/>
              </a:rPr>
              <a:t>Building a vibrant Christ-centred Community with a vision for extending His kingdom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2000-00000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4900074"/>
              </p:ext>
            </p:extLst>
          </p:nvPr>
        </p:nvGraphicFramePr>
        <p:xfrm>
          <a:off x="1003301" y="1691671"/>
          <a:ext cx="11020424" cy="4782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B19724D9-B98D-3744-936A-9F0C377C7617}"/>
              </a:ext>
            </a:extLst>
          </p:cNvPr>
          <p:cNvSpPr/>
          <p:nvPr/>
        </p:nvSpPr>
        <p:spPr>
          <a:xfrm>
            <a:off x="1036638" y="1714500"/>
            <a:ext cx="11023600" cy="4759452"/>
          </a:xfrm>
          <a:prstGeom prst="rect">
            <a:avLst/>
          </a:prstGeom>
          <a:noFill/>
          <a:ln w="222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9458" name="Object 35">
            <a:extLst>
              <a:ext uri="{FF2B5EF4-FFF2-40B4-BE49-F238E27FC236}">
                <a16:creationId xmlns:a16="http://schemas.microsoft.com/office/drawing/2014/main" id="{6F46B1A6-F87C-944A-8B58-7795AF091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Object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A56E20D9-01FA-1E44-8A70-655A0DC4D6C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360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460" name="Title 1">
            <a:extLst>
              <a:ext uri="{FF2B5EF4-FFF2-40B4-BE49-F238E27FC236}">
                <a16:creationId xmlns:a16="http://schemas.microsoft.com/office/drawing/2014/main" id="{69BCEC06-016E-FD47-864E-26A2D33BD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8" y="623888"/>
            <a:ext cx="10440987" cy="1281112"/>
          </a:xfrm>
        </p:spPr>
        <p:txBody>
          <a:bodyPr/>
          <a:lstStyle/>
          <a:p>
            <a:pPr eaLnBrk="1" hangingPunct="1"/>
            <a:r>
              <a:rPr lang="en-GB" altLang="en-US">
                <a:ea typeface="ＭＳ Ｐゴシック" panose="020B0600070205080204" pitchFamily="34" charset="-128"/>
              </a:rPr>
              <a:t>Historic Offerings – Rolling 12 month average </a:t>
            </a:r>
          </a:p>
        </p:txBody>
      </p:sp>
      <p:sp>
        <p:nvSpPr>
          <p:cNvPr id="19461" name="Freeform 30">
            <a:extLst>
              <a:ext uri="{FF2B5EF4-FFF2-40B4-BE49-F238E27FC236}">
                <a16:creationId xmlns:a16="http://schemas.microsoft.com/office/drawing/2014/main" id="{4449642E-490D-A148-A075-06FCFBE5F2AA}"/>
              </a:ext>
            </a:extLst>
          </p:cNvPr>
          <p:cNvSpPr>
            <a:spLocks/>
          </p:cNvSpPr>
          <p:nvPr/>
        </p:nvSpPr>
        <p:spPr bwMode="gray">
          <a:xfrm>
            <a:off x="10318502" y="4903438"/>
            <a:ext cx="414338" cy="371575"/>
          </a:xfrm>
          <a:custGeom>
            <a:avLst/>
            <a:gdLst>
              <a:gd name="T0" fmla="*/ 2147483646 w 3884"/>
              <a:gd name="T1" fmla="*/ 2147483646 h 1600"/>
              <a:gd name="T2" fmla="*/ 2147483646 w 3884"/>
              <a:gd name="T3" fmla="*/ 2147483646 h 1600"/>
              <a:gd name="T4" fmla="*/ 2147483646 w 3884"/>
              <a:gd name="T5" fmla="*/ 2147483646 h 1600"/>
              <a:gd name="T6" fmla="*/ 2147483646 w 3884"/>
              <a:gd name="T7" fmla="*/ 2147483646 h 1600"/>
              <a:gd name="T8" fmla="*/ 2147483646 w 3884"/>
              <a:gd name="T9" fmla="*/ 2147483646 h 1600"/>
              <a:gd name="T10" fmla="*/ 2147483646 w 3884"/>
              <a:gd name="T11" fmla="*/ 2147483646 h 1600"/>
              <a:gd name="T12" fmla="*/ 0 w 3884"/>
              <a:gd name="T13" fmla="*/ 2147483646 h 1600"/>
              <a:gd name="T14" fmla="*/ 2147483646 w 3884"/>
              <a:gd name="T15" fmla="*/ 2147483646 h 1600"/>
              <a:gd name="T16" fmla="*/ 2147483646 w 3884"/>
              <a:gd name="T17" fmla="*/ 2147483646 h 1600"/>
              <a:gd name="T18" fmla="*/ 2147483646 w 3884"/>
              <a:gd name="T19" fmla="*/ 2147483646 h 1600"/>
              <a:gd name="T20" fmla="*/ 2147483646 w 3884"/>
              <a:gd name="T21" fmla="*/ 21474836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9462" name="Freeform 30">
            <a:extLst>
              <a:ext uri="{FF2B5EF4-FFF2-40B4-BE49-F238E27FC236}">
                <a16:creationId xmlns:a16="http://schemas.microsoft.com/office/drawing/2014/main" id="{14BE7704-723A-C44F-8191-F3450F7B6FB4}"/>
              </a:ext>
            </a:extLst>
          </p:cNvPr>
          <p:cNvSpPr>
            <a:spLocks/>
          </p:cNvSpPr>
          <p:nvPr/>
        </p:nvSpPr>
        <p:spPr bwMode="gray">
          <a:xfrm>
            <a:off x="11557514" y="3786609"/>
            <a:ext cx="458787" cy="333375"/>
          </a:xfrm>
          <a:custGeom>
            <a:avLst/>
            <a:gdLst>
              <a:gd name="T0" fmla="*/ 2147483646 w 3884"/>
              <a:gd name="T1" fmla="*/ 2147483646 h 1600"/>
              <a:gd name="T2" fmla="*/ 2147483646 w 3884"/>
              <a:gd name="T3" fmla="*/ 2147483646 h 1600"/>
              <a:gd name="T4" fmla="*/ 2147483646 w 3884"/>
              <a:gd name="T5" fmla="*/ 2147483646 h 1600"/>
              <a:gd name="T6" fmla="*/ 2147483646 w 3884"/>
              <a:gd name="T7" fmla="*/ 2147483646 h 1600"/>
              <a:gd name="T8" fmla="*/ 2147483646 w 3884"/>
              <a:gd name="T9" fmla="*/ 2147483646 h 1600"/>
              <a:gd name="T10" fmla="*/ 2147483646 w 3884"/>
              <a:gd name="T11" fmla="*/ 2147483646 h 1600"/>
              <a:gd name="T12" fmla="*/ 0 w 3884"/>
              <a:gd name="T13" fmla="*/ 2147483646 h 1600"/>
              <a:gd name="T14" fmla="*/ 2147483646 w 3884"/>
              <a:gd name="T15" fmla="*/ 2147483646 h 1600"/>
              <a:gd name="T16" fmla="*/ 2147483646 w 3884"/>
              <a:gd name="T17" fmla="*/ 2147483646 h 1600"/>
              <a:gd name="T18" fmla="*/ 2147483646 w 3884"/>
              <a:gd name="T19" fmla="*/ 2147483646 h 1600"/>
              <a:gd name="T20" fmla="*/ 2147483646 w 3884"/>
              <a:gd name="T21" fmla="*/ 21474836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4" name="Right Arrow 3">
            <a:extLst>
              <a:ext uri="{FF2B5EF4-FFF2-40B4-BE49-F238E27FC236}">
                <a16:creationId xmlns:a16="http://schemas.microsoft.com/office/drawing/2014/main" id="{B71CADB0-BE9F-E845-A37F-3878642B0D5F}"/>
              </a:ext>
            </a:extLst>
          </p:cNvPr>
          <p:cNvSpPr/>
          <p:nvPr/>
        </p:nvSpPr>
        <p:spPr>
          <a:xfrm rot="19093980">
            <a:off x="10259542" y="4020716"/>
            <a:ext cx="1314310" cy="466725"/>
          </a:xfrm>
          <a:prstGeom prst="rightArrow">
            <a:avLst>
              <a:gd name="adj1" fmla="val 60500"/>
              <a:gd name="adj2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en-US" sz="1800" b="1" dirty="0">
                <a:latin typeface="Century Gothic" panose="020B0502020202020204" pitchFamily="34" charset="0"/>
              </a:rPr>
              <a:t>8.2%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1">
            <a:extLst>
              <a:ext uri="{FF2B5EF4-FFF2-40B4-BE49-F238E27FC236}">
                <a16:creationId xmlns:a16="http://schemas.microsoft.com/office/drawing/2014/main" id="{082FDD50-B91F-1B47-822F-92ED615DB8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Object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96436ADC-F8A6-CE49-AAB3-10BAF0B1F37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3600">
              <a:solidFill>
                <a:srgbClr val="FFFFF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0484" name="Title 1">
            <a:extLst>
              <a:ext uri="{FF2B5EF4-FFF2-40B4-BE49-F238E27FC236}">
                <a16:creationId xmlns:a16="http://schemas.microsoft.com/office/drawing/2014/main" id="{A9953032-75DD-EC41-B9CF-2AD76145F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3850" y="560388"/>
            <a:ext cx="10440988" cy="1281112"/>
          </a:xfrm>
        </p:spPr>
        <p:txBody>
          <a:bodyPr/>
          <a:lstStyle/>
          <a:p>
            <a:pPr eaLnBrk="1" hangingPunct="1"/>
            <a:r>
              <a:rPr lang="en-GB" altLang="en-US" dirty="0">
                <a:ea typeface="ＭＳ Ｐゴシック" panose="020B0600070205080204" pitchFamily="34" charset="-128"/>
              </a:rPr>
              <a:t> 2 Months to 28</a:t>
            </a:r>
            <a:r>
              <a:rPr lang="en-GB" altLang="en-US" baseline="30000" dirty="0">
                <a:ea typeface="ＭＳ Ｐゴシック" panose="020B0600070205080204" pitchFamily="34" charset="-128"/>
              </a:rPr>
              <a:t>th</a:t>
            </a:r>
            <a:r>
              <a:rPr lang="en-GB" altLang="en-US" dirty="0">
                <a:ea typeface="ＭＳ Ｐゴシック" panose="020B0600070205080204" pitchFamily="34" charset="-128"/>
              </a:rPr>
              <a:t> February 2023 (£ 000’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6B0F68-2A3C-314F-ABF1-506DB2B8CBDF}"/>
              </a:ext>
            </a:extLst>
          </p:cNvPr>
          <p:cNvSpPr/>
          <p:nvPr/>
        </p:nvSpPr>
        <p:spPr>
          <a:xfrm>
            <a:off x="7662152" y="1248354"/>
            <a:ext cx="1335088" cy="5546586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D76971-1AE1-290E-40F4-73D67F8211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08847" y="1200944"/>
            <a:ext cx="5764099" cy="554658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4F34B87B-9C7A-41AE-A6CB-48536223DF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918</TotalTime>
  <Words>38</Words>
  <Application>Microsoft Macintosh PowerPoint</Application>
  <PresentationFormat>Widescreen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entury Gothic</vt:lpstr>
      <vt:lpstr>Wingdings 3</vt:lpstr>
      <vt:lpstr>Wisp</vt:lpstr>
      <vt:lpstr>think-cell Slide</vt:lpstr>
      <vt:lpstr>RUISLIP BAPTIST CHURCH</vt:lpstr>
      <vt:lpstr>Historic Offerings – Rolling 12 month average </vt:lpstr>
      <vt:lpstr> 2 Months to 28th February 2023 (£ 000’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ISLIP BAPTIST CHURCH</dc:title>
  <dc:creator>Roy Bawden</dc:creator>
  <cp:lastModifiedBy>Craig Rowland</cp:lastModifiedBy>
  <cp:revision>122</cp:revision>
  <cp:lastPrinted>2022-07-13T22:42:58Z</cp:lastPrinted>
  <dcterms:created xsi:type="dcterms:W3CDTF">2021-09-16T21:05:43Z</dcterms:created>
  <dcterms:modified xsi:type="dcterms:W3CDTF">2023-03-19T16:26:17Z</dcterms:modified>
</cp:coreProperties>
</file>